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6" r:id="rId4"/>
  </p:sldMasterIdLst>
  <p:notesMasterIdLst>
    <p:notesMasterId r:id="rId22"/>
  </p:notesMasterIdLst>
  <p:handoutMasterIdLst>
    <p:handoutMasterId r:id="rId23"/>
  </p:handoutMasterIdLst>
  <p:sldIdLst>
    <p:sldId id="2147195717" r:id="rId5"/>
    <p:sldId id="2147479043" r:id="rId6"/>
    <p:sldId id="2147375467" r:id="rId7"/>
    <p:sldId id="2147375462" r:id="rId8"/>
    <p:sldId id="2147472161" r:id="rId9"/>
    <p:sldId id="2147481773" r:id="rId10"/>
    <p:sldId id="2147481775" r:id="rId11"/>
    <p:sldId id="2147481776" r:id="rId12"/>
    <p:sldId id="2147481771" r:id="rId13"/>
    <p:sldId id="2147481772" r:id="rId14"/>
    <p:sldId id="2147481774" r:id="rId15"/>
    <p:sldId id="2147481770" r:id="rId16"/>
    <p:sldId id="2147474132" r:id="rId17"/>
    <p:sldId id="2147472162" r:id="rId18"/>
    <p:sldId id="2147375468" r:id="rId19"/>
    <p:sldId id="2147474135" r:id="rId20"/>
    <p:sldId id="2147481769" r:id="rId21"/>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80001"/>
    <a:srgbClr val="942092"/>
    <a:srgbClr val="003399"/>
    <a:srgbClr val="9BBD1F"/>
    <a:srgbClr val="FFD579"/>
    <a:srgbClr val="0F999C"/>
    <a:srgbClr val="154F60"/>
    <a:srgbClr val="260C35"/>
    <a:srgbClr val="260D35"/>
    <a:srgbClr val="DBB2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6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07/05/2024</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07/05/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C0696B5C-12A0-4042-B4D0-BD3B9A4F58C6}" type="slidenum">
              <a:rPr lang="pt-BR" smtClean="0"/>
              <a:t>1</a:t>
            </a:fld>
            <a:endParaRPr lang="pt-BR"/>
          </a:p>
        </p:txBody>
      </p:sp>
    </p:spTree>
    <p:extLst>
      <p:ext uri="{BB962C8B-B14F-4D97-AF65-F5344CB8AC3E}">
        <p14:creationId xmlns:p14="http://schemas.microsoft.com/office/powerpoint/2010/main" val="42519635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0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pt-BR" sz="10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9178360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7FDC6A-A240-4464-80FB-14513550C58E}" type="slidenum">
              <a:rPr kumimoji="0" lang="en-US"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86817606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www.slideshare.net/capgemini" TargetMode="External"/><Relationship Id="rId13" Type="http://schemas.openxmlformats.org/officeDocument/2006/relationships/image" Target="../media/image8.png"/><Relationship Id="rId3" Type="http://schemas.openxmlformats.org/officeDocument/2006/relationships/oleObject" Target="../embeddings/oleObject2.bin"/><Relationship Id="rId7" Type="http://schemas.openxmlformats.org/officeDocument/2006/relationships/image" Target="../media/image5.png"/><Relationship Id="rId12" Type="http://schemas.openxmlformats.org/officeDocument/2006/relationships/hyperlink" Target="http://www.youtube.com/capgeminimedia" TargetMode="External"/><Relationship Id="rId2" Type="http://schemas.openxmlformats.org/officeDocument/2006/relationships/slideMaster" Target="../slideMasters/slideMaster1.xml"/><Relationship Id="rId16" Type="http://schemas.openxmlformats.org/officeDocument/2006/relationships/image" Target="../media/image10.png"/><Relationship Id="rId1" Type="http://schemas.openxmlformats.org/officeDocument/2006/relationships/tags" Target="../tags/tag4.xml"/><Relationship Id="rId6" Type="http://schemas.openxmlformats.org/officeDocument/2006/relationships/hyperlink" Target="http://www.linkedin.com/company/capgemini" TargetMode="External"/><Relationship Id="rId11" Type="http://schemas.openxmlformats.org/officeDocument/2006/relationships/image" Target="../media/image7.png"/><Relationship Id="rId5" Type="http://schemas.openxmlformats.org/officeDocument/2006/relationships/hyperlink" Target="http://www.capgemini.com/about/how-we-work/rightshorer" TargetMode="External"/><Relationship Id="rId15" Type="http://schemas.openxmlformats.org/officeDocument/2006/relationships/image" Target="../media/image9.png"/><Relationship Id="rId10" Type="http://schemas.openxmlformats.org/officeDocument/2006/relationships/hyperlink" Target="http://www.twitter.com/capgemini" TargetMode="External"/><Relationship Id="rId4" Type="http://schemas.openxmlformats.org/officeDocument/2006/relationships/image" Target="../media/image1.emf"/><Relationship Id="rId9" Type="http://schemas.openxmlformats.org/officeDocument/2006/relationships/image" Target="../media/image6.png"/><Relationship Id="rId14" Type="http://schemas.openxmlformats.org/officeDocument/2006/relationships/hyperlink" Target="http://www.facebook.com/capgemini"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blank" preserve="1">
  <p:cSld name="Vide">
    <p:bg>
      <p:bgPr>
        <a:solidFill>
          <a:srgbClr val="EDEDED"/>
        </a:solidFill>
        <a:effectLst/>
      </p:bgPr>
    </p:bg>
    <p:spTree>
      <p:nvGrpSpPr>
        <p:cNvPr id="1" name=""/>
        <p:cNvGrpSpPr/>
        <p:nvPr/>
      </p:nvGrpSpPr>
      <p:grpSpPr>
        <a:xfrm>
          <a:off x="0" y="0"/>
          <a:ext cx="0" cy="0"/>
          <a:chOff x="0" y="0"/>
          <a:chExt cx="0" cy="0"/>
        </a:xfrm>
      </p:grpSpPr>
      <p:sp>
        <p:nvSpPr>
          <p:cNvPr id="23" name="Rectangle 22"/>
          <p:cNvSpPr/>
          <p:nvPr userDrawn="1"/>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chemeClr val="tx2">
                  <a:lumMod val="50000"/>
                </a:schemeClr>
              </a:solidFill>
            </a:endParaRPr>
          </a:p>
        </p:txBody>
      </p:sp>
      <p:graphicFrame>
        <p:nvGraphicFramePr>
          <p:cNvPr id="2" name="Object 1" hidden="1"/>
          <p:cNvGraphicFramePr>
            <a:graphicFrameLocks noChangeAspect="1"/>
          </p:cNvGraphicFramePr>
          <p:nvPr>
            <p:custDataLst>
              <p:tags r:id="rId1"/>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15.2 billion USD.</a:t>
            </a:r>
          </a:p>
        </p:txBody>
      </p:sp>
      <p:sp>
        <p:nvSpPr>
          <p:cNvPr id="9" name="Rectangle 8"/>
          <p:cNvSpPr/>
          <p:nvPr userDrawn="1"/>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userDrawn="1"/>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userDrawn="1"/>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5"/>
          </p:cNvPr>
          <p:cNvSpPr/>
          <p:nvPr userDrawn="1"/>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a:p>
        </p:txBody>
      </p:sp>
      <p:sp>
        <p:nvSpPr>
          <p:cNvPr id="4" name="Freeform 5"/>
          <p:cNvSpPr>
            <a:spLocks/>
          </p:cNvSpPr>
          <p:nvPr userDrawn="1"/>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nvGrpSpPr>
          <p:cNvPr id="5" name="Group 4"/>
          <p:cNvGrpSpPr/>
          <p:nvPr userDrawn="1"/>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grpSp>
      <p:sp>
        <p:nvSpPr>
          <p:cNvPr id="16" name="Rectangle 15"/>
          <p:cNvSpPr/>
          <p:nvPr userDrawn="1"/>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Copyright © 2020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err="1">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6"/>
          </p:cNvPr>
          <p:cNvPicPr>
            <a:picLocks noChangeAspect="1" noChangeArrowheads="1"/>
          </p:cNvPicPr>
          <p:nvPr userDrawn="1"/>
        </p:nvPicPr>
        <p:blipFill>
          <a:blip r:embed="rId7"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8"/>
          </p:cNvPr>
          <p:cNvPicPr>
            <a:picLocks noChangeAspect="1" noChangeArrowheads="1"/>
          </p:cNvPicPr>
          <p:nvPr userDrawn="1"/>
        </p:nvPicPr>
        <p:blipFill>
          <a:blip r:embed="rId9"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0"/>
          </p:cNvPr>
          <p:cNvPicPr>
            <a:picLocks noChangeAspect="1" noChangeArrowheads="1"/>
          </p:cNvPicPr>
          <p:nvPr userDrawn="1"/>
        </p:nvPicPr>
        <p:blipFill>
          <a:blip r:embed="rId11"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2"/>
          </p:cNvPr>
          <p:cNvPicPr>
            <a:picLocks noChangeAspect="1" noChangeArrowheads="1"/>
          </p:cNvPicPr>
          <p:nvPr userDrawn="1"/>
        </p:nvPicPr>
        <p:blipFill>
          <a:blip r:embed="rId13"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4"/>
          </p:cNvPr>
          <p:cNvPicPr>
            <a:picLocks noChangeAspect="1" noChangeArrowheads="1"/>
          </p:cNvPicPr>
          <p:nvPr userDrawn="1"/>
        </p:nvPicPr>
        <p:blipFill>
          <a:blip r:embed="rId15"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1222830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119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4_Only Titl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nchor="t"/>
          <a:lstStyle/>
          <a:p>
            <a:r>
              <a:rPr lang="en-US"/>
              <a:t>Click to edit Master title style</a:t>
            </a:r>
            <a:endParaRPr lang="de-DE"/>
          </a:p>
        </p:txBody>
      </p:sp>
    </p:spTree>
    <p:extLst>
      <p:ext uri="{BB962C8B-B14F-4D97-AF65-F5344CB8AC3E}">
        <p14:creationId xmlns:p14="http://schemas.microsoft.com/office/powerpoint/2010/main" val="2542455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524078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40080398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lvl1pPr>
              <a:defRPr/>
            </a:lvl1pPr>
          </a:lstStyle>
          <a:p>
            <a:r>
              <a:rPr lang="en-US"/>
              <a:t>Click to edit Master title style</a:t>
            </a:r>
            <a:endParaRPr lang="de-DE"/>
          </a:p>
        </p:txBody>
      </p:sp>
    </p:spTree>
    <p:extLst>
      <p:ext uri="{BB962C8B-B14F-4D97-AF65-F5344CB8AC3E}">
        <p14:creationId xmlns:p14="http://schemas.microsoft.com/office/powerpoint/2010/main" val="6437923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p>
        </p:txBody>
      </p:sp>
    </p:spTree>
    <p:extLst>
      <p:ext uri="{BB962C8B-B14F-4D97-AF65-F5344CB8AC3E}">
        <p14:creationId xmlns:p14="http://schemas.microsoft.com/office/powerpoint/2010/main" val="31800214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sv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name="think-cell Slide" r:id="rId12" imgW="360" imgH="360" progId="">
                  <p:embed/>
                </p:oleObj>
              </mc:Choice>
              <mc:Fallback>
                <p:oleObj name="think-cell Slide" r:id="rId12" imgW="360" imgH="36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11"/>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306831" y="6429448"/>
            <a:ext cx="1412968" cy="315237"/>
          </a:xfrm>
          <a:prstGeom prst="rect">
            <a:avLst/>
          </a:prstGeom>
        </p:spPr>
      </p:pic>
      <p:cxnSp>
        <p:nvCxnSpPr>
          <p:cNvPr id="12" name="Straight Connector 11">
            <a:extLst>
              <a:ext uri="{FF2B5EF4-FFF2-40B4-BE49-F238E27FC236}">
                <a16:creationId xmlns:a16="http://schemas.microsoft.com/office/drawing/2014/main" id="{7ACAA030-48F3-46E8-917E-57A2DEF98132}"/>
              </a:ext>
            </a:extLst>
          </p:cNvPr>
          <p:cNvCxnSpPr/>
          <p:nvPr userDrawn="1"/>
        </p:nvCxnSpPr>
        <p:spPr>
          <a:xfrm>
            <a:off x="1871196" y="6429448"/>
            <a:ext cx="0" cy="264066"/>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5" name="Picture 4" descr="A close up of a sign&#10;&#10;Description automatically generated">
            <a:extLst>
              <a:ext uri="{FF2B5EF4-FFF2-40B4-BE49-F238E27FC236}">
                <a16:creationId xmlns:a16="http://schemas.microsoft.com/office/drawing/2014/main" id="{DE23B9AF-6FEB-413B-9D92-39FA8F638989}"/>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2022594" y="6394853"/>
            <a:ext cx="333256" cy="333256"/>
          </a:xfrm>
          <a:prstGeom prst="rect">
            <a:avLst/>
          </a:prstGeom>
        </p:spPr>
      </p:pic>
    </p:spTree>
    <p:extLst>
      <p:ext uri="{BB962C8B-B14F-4D97-AF65-F5344CB8AC3E}">
        <p14:creationId xmlns:p14="http://schemas.microsoft.com/office/powerpoint/2010/main" val="2830191303"/>
      </p:ext>
    </p:extLst>
  </p:cSld>
  <p:clrMap bg1="lt1" tx1="dk1" bg2="lt2" tx2="dk2" accent1="accent1" accent2="accent2" accent3="accent3" accent4="accent4" accent5="accent5" accent6="accent6" hlink="hlink" folHlink="folHlink"/>
  <p:sldLayoutIdLst>
    <p:sldLayoutId id="2147483981" r:id="rId1"/>
    <p:sldLayoutId id="2147484178" r:id="rId2"/>
    <p:sldLayoutId id="2147484179" r:id="rId3"/>
    <p:sldLayoutId id="2147484180" r:id="rId4"/>
    <p:sldLayoutId id="2147484181" r:id="rId5"/>
    <p:sldLayoutId id="2147484183" r:id="rId6"/>
    <p:sldLayoutId id="2147484184" r:id="rId7"/>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2.xml"/><Relationship Id="rId5" Type="http://schemas.openxmlformats.org/officeDocument/2006/relationships/image" Target="../media/image28.png"/><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image" Target="../media/image30.png"/><Relationship Id="rId7"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1.jpeg"/><Relationship Id="rId10" Type="http://schemas.openxmlformats.org/officeDocument/2006/relationships/image" Target="../media/image36.jpeg"/><Relationship Id="rId4" Type="http://schemas.openxmlformats.org/officeDocument/2006/relationships/hyperlink" Target="https://www.capgemini.com/solutions/custom-generative-ai-for-enterprise/" TargetMode="External"/><Relationship Id="rId9" Type="http://schemas.openxmlformats.org/officeDocument/2006/relationships/image" Target="../media/image35.jpeg"/></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image" Target="../media/image12.png"/><Relationship Id="rId1" Type="http://schemas.openxmlformats.org/officeDocument/2006/relationships/slideLayout" Target="../slideLayouts/slideLayout6.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2.xml"/><Relationship Id="rId5" Type="http://schemas.openxmlformats.org/officeDocument/2006/relationships/image" Target="../media/image28.png"/><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E6FC18-0360-4A48-921E-9690CB275DF0}"/>
              </a:ext>
            </a:extLst>
          </p:cNvPr>
          <p:cNvSpPr>
            <a:spLocks noGrp="1"/>
          </p:cNvSpPr>
          <p:nvPr>
            <p:ph type="title"/>
          </p:nvPr>
        </p:nvSpPr>
        <p:spPr>
          <a:xfrm>
            <a:off x="308616" y="200798"/>
            <a:ext cx="10947772" cy="716711"/>
          </a:xfrm>
        </p:spPr>
        <p:txBody>
          <a:bodyPr/>
          <a:lstStyle/>
          <a:p>
            <a:r>
              <a:rPr lang="en-IN" sz="2400" cap="all">
                <a:solidFill>
                  <a:srgbClr val="272936"/>
                </a:solidFill>
                <a:latin typeface="Ubuntu" panose="020B0504030602030204" pitchFamily="34" charset="0"/>
                <a:ea typeface="+mj-ea"/>
                <a:cs typeface="+mj-cs"/>
              </a:rPr>
              <a:t>Gas Power TCoE landscape – Capgemini presence</a:t>
            </a:r>
            <a:endParaRPr lang="en-US"/>
          </a:p>
        </p:txBody>
      </p:sp>
      <p:sp>
        <p:nvSpPr>
          <p:cNvPr id="14" name="Rectangle 13">
            <a:extLst>
              <a:ext uri="{FF2B5EF4-FFF2-40B4-BE49-F238E27FC236}">
                <a16:creationId xmlns:a16="http://schemas.microsoft.com/office/drawing/2014/main" id="{FEA5EF2D-4DA6-3679-CCC0-4C4EDDCE8262}"/>
              </a:ext>
            </a:extLst>
          </p:cNvPr>
          <p:cNvSpPr/>
          <p:nvPr/>
        </p:nvSpPr>
        <p:spPr>
          <a:xfrm>
            <a:off x="7259806" y="1230649"/>
            <a:ext cx="4431174" cy="5262979"/>
          </a:xfrm>
          <a:prstGeom prst="rect">
            <a:avLst/>
          </a:prstGeom>
        </p:spPr>
        <p:txBody>
          <a:bodyPr wrap="square">
            <a:spAutoFit/>
          </a:bodyPr>
          <a:lstStyle/>
          <a:p>
            <a:r>
              <a:rPr lang="en-US" sz="1400" b="1" dirty="0">
                <a:latin typeface="Ubuntu" panose="020B0504030602030204" pitchFamily="34" charset="0"/>
              </a:rPr>
              <a:t>Scope of work</a:t>
            </a:r>
          </a:p>
          <a:p>
            <a:pPr marL="742950" lvl="1" indent="-285750">
              <a:buFont typeface="Arial" panose="020B0604020202020204" pitchFamily="34" charset="0"/>
              <a:buChar char="•"/>
            </a:pPr>
            <a:r>
              <a:rPr lang="en-US" sz="1400" dirty="0">
                <a:latin typeface="Ubuntu" panose="020B0504030602030204" pitchFamily="34" charset="0"/>
              </a:rPr>
              <a:t>Manual Testing</a:t>
            </a:r>
          </a:p>
          <a:p>
            <a:pPr marL="742950" lvl="1" indent="-285750">
              <a:buFont typeface="Arial" panose="020B0604020202020204" pitchFamily="34" charset="0"/>
              <a:buChar char="•"/>
            </a:pPr>
            <a:r>
              <a:rPr lang="en-US" sz="1400" dirty="0">
                <a:latin typeface="Ubuntu" panose="020B0504030602030204" pitchFamily="34" charset="0"/>
              </a:rPr>
              <a:t>Automation Testing</a:t>
            </a:r>
          </a:p>
          <a:p>
            <a:pPr marL="742950" lvl="1" indent="-285750">
              <a:buFont typeface="Arial" panose="020B0604020202020204" pitchFamily="34" charset="0"/>
              <a:buChar char="•"/>
            </a:pPr>
            <a:r>
              <a:rPr lang="en-US" sz="1400" dirty="0">
                <a:latin typeface="Ubuntu" panose="020B0504030602030204" pitchFamily="34" charset="0"/>
              </a:rPr>
              <a:t>API Testing</a:t>
            </a:r>
          </a:p>
          <a:p>
            <a:pPr marL="742950" lvl="1" indent="-285750">
              <a:buFont typeface="Arial" panose="020B0604020202020204" pitchFamily="34" charset="0"/>
              <a:buChar char="•"/>
            </a:pPr>
            <a:r>
              <a:rPr lang="en-US" sz="1400" dirty="0" err="1">
                <a:latin typeface="Ubuntu" panose="020B0504030602030204" pitchFamily="34" charset="0"/>
              </a:rPr>
              <a:t>ETL</a:t>
            </a:r>
            <a:r>
              <a:rPr lang="en-US" sz="1400" dirty="0">
                <a:latin typeface="Ubuntu" panose="020B0504030602030204" pitchFamily="34" charset="0"/>
              </a:rPr>
              <a:t> Testing</a:t>
            </a:r>
          </a:p>
          <a:p>
            <a:pPr marL="742950" lvl="1" indent="-285750">
              <a:buFont typeface="Arial" panose="020B0604020202020204" pitchFamily="34" charset="0"/>
              <a:buChar char="•"/>
            </a:pPr>
            <a:r>
              <a:rPr lang="en-US" sz="1400" dirty="0" err="1">
                <a:latin typeface="Ubuntu" panose="020B0504030602030204" pitchFamily="34" charset="0"/>
              </a:rPr>
              <a:t>DevSecOps</a:t>
            </a:r>
            <a:endParaRPr lang="en-US" sz="1400" dirty="0">
              <a:latin typeface="Ubuntu" panose="020B0504030602030204" pitchFamily="34" charset="0"/>
            </a:endParaRPr>
          </a:p>
          <a:p>
            <a:pPr marL="742950" lvl="1" indent="-285750">
              <a:buFont typeface="Arial" panose="020B0604020202020204" pitchFamily="34" charset="0"/>
              <a:buChar char="•"/>
            </a:pPr>
            <a:r>
              <a:rPr lang="en-US" sz="1400" dirty="0">
                <a:latin typeface="Ubuntu" panose="020B0504030602030204" pitchFamily="34" charset="0"/>
              </a:rPr>
              <a:t>Performance Testing</a:t>
            </a:r>
          </a:p>
          <a:p>
            <a:pPr marL="285750" indent="-285750">
              <a:buFont typeface="Arial" panose="020B0604020202020204" pitchFamily="34" charset="0"/>
              <a:buChar char="•"/>
            </a:pPr>
            <a:endParaRPr lang="en-US" sz="1400" b="1" dirty="0">
              <a:latin typeface="Ubuntu" panose="020B0504030602030204" pitchFamily="34" charset="0"/>
            </a:endParaRPr>
          </a:p>
          <a:p>
            <a:r>
              <a:rPr lang="en-US" sz="1400" b="1" dirty="0">
                <a:latin typeface="Ubuntu" panose="020B0504030602030204" pitchFamily="34" charset="0"/>
              </a:rPr>
              <a:t>Application Technology Stack</a:t>
            </a:r>
          </a:p>
          <a:p>
            <a:pPr marL="742950" lvl="1" indent="-285750">
              <a:buFont typeface="Arial" panose="020B0604020202020204" pitchFamily="34" charset="0"/>
              <a:buChar char="•"/>
            </a:pPr>
            <a:r>
              <a:rPr lang="en-US" sz="1400" dirty="0">
                <a:latin typeface="Ubuntu" panose="020B0504030602030204" pitchFamily="34" charset="0"/>
              </a:rPr>
              <a:t>SAP</a:t>
            </a:r>
          </a:p>
          <a:p>
            <a:pPr marL="742950" lvl="1" indent="-285750">
              <a:buFont typeface="Arial" panose="020B0604020202020204" pitchFamily="34" charset="0"/>
              <a:buChar char="•"/>
            </a:pPr>
            <a:r>
              <a:rPr lang="en-US" sz="1400" dirty="0">
                <a:latin typeface="Ubuntu" panose="020B0504030602030204" pitchFamily="34" charset="0"/>
              </a:rPr>
              <a:t>Oracle ERP Apps</a:t>
            </a:r>
          </a:p>
          <a:p>
            <a:pPr marL="742950" lvl="1" indent="-285750">
              <a:buFont typeface="Arial" panose="020B0604020202020204" pitchFamily="34" charset="0"/>
              <a:buChar char="•"/>
            </a:pPr>
            <a:r>
              <a:rPr lang="en-US" sz="1400" dirty="0">
                <a:latin typeface="Ubuntu" panose="020B0504030602030204" pitchFamily="34" charset="0"/>
              </a:rPr>
              <a:t>Web Applications (Products)</a:t>
            </a:r>
          </a:p>
          <a:p>
            <a:pPr marL="742950" lvl="1" indent="-285750">
              <a:buFont typeface="Arial" panose="020B0604020202020204" pitchFamily="34" charset="0"/>
              <a:buChar char="•"/>
            </a:pPr>
            <a:r>
              <a:rPr lang="en-US" sz="1400" dirty="0">
                <a:latin typeface="Ubuntu" panose="020B0504030602030204" pitchFamily="34" charset="0"/>
              </a:rPr>
              <a:t>Data Lake</a:t>
            </a:r>
          </a:p>
          <a:p>
            <a:pPr marL="742950" lvl="1" indent="-285750">
              <a:buFont typeface="Arial" panose="020B0604020202020204" pitchFamily="34" charset="0"/>
              <a:buChar char="•"/>
            </a:pPr>
            <a:r>
              <a:rPr lang="en-US" sz="1400" dirty="0">
                <a:latin typeface="Ubuntu" panose="020B0504030602030204" pitchFamily="34" charset="0"/>
              </a:rPr>
              <a:t>Ariba</a:t>
            </a:r>
          </a:p>
          <a:p>
            <a:pPr marL="742950" lvl="1" indent="-285750">
              <a:buFont typeface="Arial" panose="020B0604020202020204" pitchFamily="34" charset="0"/>
              <a:buChar char="•"/>
            </a:pPr>
            <a:r>
              <a:rPr lang="en-US" sz="1400" dirty="0" err="1">
                <a:latin typeface="Ubuntu" panose="020B0504030602030204" pitchFamily="34" charset="0"/>
              </a:rPr>
              <a:t>OTM</a:t>
            </a:r>
            <a:endParaRPr lang="en-US" sz="1400" dirty="0">
              <a:latin typeface="Ubuntu" panose="020B0504030602030204" pitchFamily="34" charset="0"/>
            </a:endParaRPr>
          </a:p>
          <a:p>
            <a:pPr marL="742950" lvl="1" indent="-285750">
              <a:buFont typeface="Arial" panose="020B0604020202020204" pitchFamily="34" charset="0"/>
              <a:buChar char="•"/>
            </a:pPr>
            <a:r>
              <a:rPr lang="en-US" sz="1400" dirty="0">
                <a:latin typeface="Ubuntu" panose="020B0504030602030204" pitchFamily="34" charset="0"/>
              </a:rPr>
              <a:t>SFDC</a:t>
            </a:r>
          </a:p>
          <a:p>
            <a:pPr marL="742950" lvl="1" indent="-285750">
              <a:buFont typeface="Arial" panose="020B0604020202020204" pitchFamily="34" charset="0"/>
              <a:buChar char="•"/>
            </a:pPr>
            <a:endParaRPr lang="en-US" sz="1400" dirty="0">
              <a:latin typeface="Ubuntu" panose="020B0504030602030204" pitchFamily="34" charset="0"/>
            </a:endParaRPr>
          </a:p>
          <a:p>
            <a:pPr marL="285750" indent="-285750">
              <a:buFont typeface="Arial" panose="020B0604020202020204" pitchFamily="34" charset="0"/>
              <a:buChar char="•"/>
            </a:pPr>
            <a:r>
              <a:rPr lang="en-US" sz="1400" b="1" dirty="0">
                <a:latin typeface="Ubuntu" panose="020B0504030602030204" pitchFamily="34" charset="0"/>
              </a:rPr>
              <a:t>ERP+ Programs</a:t>
            </a:r>
          </a:p>
          <a:p>
            <a:pPr marL="742950" lvl="1" indent="-285750">
              <a:buFont typeface="Arial" panose="020B0604020202020204" pitchFamily="34" charset="0"/>
              <a:buChar char="•"/>
            </a:pPr>
            <a:r>
              <a:rPr lang="en-US" sz="1400" dirty="0">
                <a:latin typeface="Ubuntu" panose="020B0504030602030204" pitchFamily="34" charset="0"/>
              </a:rPr>
              <a:t>100% PMx Regression</a:t>
            </a:r>
          </a:p>
          <a:p>
            <a:pPr marL="742950" lvl="1" indent="-285750">
              <a:buFont typeface="Arial" panose="020B0604020202020204" pitchFamily="34" charset="0"/>
              <a:buChar char="•"/>
            </a:pPr>
            <a:r>
              <a:rPr lang="en-US" sz="1400" dirty="0">
                <a:latin typeface="Ubuntu" panose="020B0504030602030204" pitchFamily="34" charset="0"/>
              </a:rPr>
              <a:t>New Units</a:t>
            </a:r>
          </a:p>
          <a:p>
            <a:pPr marL="742950" lvl="1" indent="-285750">
              <a:buFont typeface="Arial" panose="020B0604020202020204" pitchFamily="34" charset="0"/>
              <a:buChar char="•"/>
            </a:pPr>
            <a:r>
              <a:rPr lang="en-US" sz="1400" dirty="0">
                <a:latin typeface="Ubuntu" panose="020B0504030602030204" pitchFamily="34" charset="0"/>
              </a:rPr>
              <a:t>Alpha MGPP</a:t>
            </a:r>
          </a:p>
          <a:p>
            <a:pPr marL="742950" lvl="1" indent="-285750">
              <a:buFont typeface="Arial" panose="020B0604020202020204" pitchFamily="34" charset="0"/>
              <a:buChar char="•"/>
            </a:pPr>
            <a:r>
              <a:rPr lang="en-US" sz="1400" dirty="0">
                <a:latin typeface="Ubuntu" panose="020B0504030602030204" pitchFamily="34" charset="0"/>
              </a:rPr>
              <a:t>Test Management for PMx and Alpha MGPP</a:t>
            </a:r>
          </a:p>
          <a:p>
            <a:pPr marL="742950" lvl="1" indent="-285750">
              <a:buFont typeface="Arial" panose="020B0604020202020204" pitchFamily="34" charset="0"/>
              <a:buChar char="•"/>
            </a:pPr>
            <a:r>
              <a:rPr lang="en-US" sz="1400" dirty="0">
                <a:latin typeface="Ubuntu" panose="020B0504030602030204" pitchFamily="34" charset="0"/>
              </a:rPr>
              <a:t>Charlie Exit</a:t>
            </a:r>
          </a:p>
        </p:txBody>
      </p:sp>
      <p:grpSp>
        <p:nvGrpSpPr>
          <p:cNvPr id="26" name="Group 25">
            <a:extLst>
              <a:ext uri="{FF2B5EF4-FFF2-40B4-BE49-F238E27FC236}">
                <a16:creationId xmlns:a16="http://schemas.microsoft.com/office/drawing/2014/main" id="{85F0B2A9-CF6B-A379-219C-BB0EEB88948E}"/>
              </a:ext>
            </a:extLst>
          </p:cNvPr>
          <p:cNvGrpSpPr/>
          <p:nvPr/>
        </p:nvGrpSpPr>
        <p:grpSpPr>
          <a:xfrm>
            <a:off x="617197" y="1382046"/>
            <a:ext cx="6476330" cy="4178065"/>
            <a:chOff x="1043627" y="1537753"/>
            <a:chExt cx="6476330" cy="4431688"/>
          </a:xfrm>
        </p:grpSpPr>
        <p:cxnSp>
          <p:nvCxnSpPr>
            <p:cNvPr id="27" name="Straight Connector 26">
              <a:extLst>
                <a:ext uri="{FF2B5EF4-FFF2-40B4-BE49-F238E27FC236}">
                  <a16:creationId xmlns:a16="http://schemas.microsoft.com/office/drawing/2014/main" id="{917B5A70-D5E6-AEF6-C58C-ECDF78A9FD66}"/>
                </a:ext>
              </a:extLst>
            </p:cNvPr>
            <p:cNvCxnSpPr>
              <a:cxnSpLocks/>
            </p:cNvCxnSpPr>
            <p:nvPr/>
          </p:nvCxnSpPr>
          <p:spPr>
            <a:xfrm flipV="1">
              <a:off x="2128131" y="3822341"/>
              <a:ext cx="544049" cy="239271"/>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28" name="Straight Connector 27">
              <a:extLst>
                <a:ext uri="{FF2B5EF4-FFF2-40B4-BE49-F238E27FC236}">
                  <a16:creationId xmlns:a16="http://schemas.microsoft.com/office/drawing/2014/main" id="{5B23591F-75ED-CF18-127A-DAC793FEA055}"/>
                </a:ext>
              </a:extLst>
            </p:cNvPr>
            <p:cNvCxnSpPr>
              <a:cxnSpLocks/>
            </p:cNvCxnSpPr>
            <p:nvPr/>
          </p:nvCxnSpPr>
          <p:spPr>
            <a:xfrm>
              <a:off x="5938318" y="3873136"/>
              <a:ext cx="544049" cy="175558"/>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29" name="Straight Connector 28">
              <a:extLst>
                <a:ext uri="{FF2B5EF4-FFF2-40B4-BE49-F238E27FC236}">
                  <a16:creationId xmlns:a16="http://schemas.microsoft.com/office/drawing/2014/main" id="{B63F0FB1-8DC0-4009-49A3-EDA993DD1472}"/>
                </a:ext>
              </a:extLst>
            </p:cNvPr>
            <p:cNvCxnSpPr>
              <a:cxnSpLocks/>
            </p:cNvCxnSpPr>
            <p:nvPr/>
          </p:nvCxnSpPr>
          <p:spPr>
            <a:xfrm flipH="1">
              <a:off x="5618629" y="2250261"/>
              <a:ext cx="4108" cy="3244049"/>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30" name="Straight Connector 29">
              <a:extLst>
                <a:ext uri="{FF2B5EF4-FFF2-40B4-BE49-F238E27FC236}">
                  <a16:creationId xmlns:a16="http://schemas.microsoft.com/office/drawing/2014/main" id="{DFBDCEA4-4EFD-B300-B947-C874CA722BA3}"/>
                </a:ext>
              </a:extLst>
            </p:cNvPr>
            <p:cNvCxnSpPr>
              <a:cxnSpLocks/>
            </p:cNvCxnSpPr>
            <p:nvPr/>
          </p:nvCxnSpPr>
          <p:spPr>
            <a:xfrm>
              <a:off x="6929983" y="2950129"/>
              <a:ext cx="0" cy="1377095"/>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34" name="Straight Connector 33">
              <a:extLst>
                <a:ext uri="{FF2B5EF4-FFF2-40B4-BE49-F238E27FC236}">
                  <a16:creationId xmlns:a16="http://schemas.microsoft.com/office/drawing/2014/main" id="{7B776AF8-2161-1A4A-0CDD-929294ED6346}"/>
                </a:ext>
              </a:extLst>
            </p:cNvPr>
            <p:cNvCxnSpPr>
              <a:cxnSpLocks/>
            </p:cNvCxnSpPr>
            <p:nvPr/>
          </p:nvCxnSpPr>
          <p:spPr>
            <a:xfrm>
              <a:off x="4337886" y="2355365"/>
              <a:ext cx="17600" cy="2951144"/>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35" name="Straight Connector 34">
              <a:extLst>
                <a:ext uri="{FF2B5EF4-FFF2-40B4-BE49-F238E27FC236}">
                  <a16:creationId xmlns:a16="http://schemas.microsoft.com/office/drawing/2014/main" id="{79830145-5B21-911F-754E-40C0F606A95A}"/>
                </a:ext>
              </a:extLst>
            </p:cNvPr>
            <p:cNvCxnSpPr>
              <a:cxnSpLocks/>
            </p:cNvCxnSpPr>
            <p:nvPr/>
          </p:nvCxnSpPr>
          <p:spPr>
            <a:xfrm>
              <a:off x="3041634" y="2271553"/>
              <a:ext cx="17600" cy="2951144"/>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36" name="Straight Connector 35">
              <a:extLst>
                <a:ext uri="{FF2B5EF4-FFF2-40B4-BE49-F238E27FC236}">
                  <a16:creationId xmlns:a16="http://schemas.microsoft.com/office/drawing/2014/main" id="{FF68232A-163B-3348-60FD-90D0CCC9F773}"/>
                </a:ext>
              </a:extLst>
            </p:cNvPr>
            <p:cNvCxnSpPr/>
            <p:nvPr/>
          </p:nvCxnSpPr>
          <p:spPr>
            <a:xfrm>
              <a:off x="1618390" y="2709879"/>
              <a:ext cx="0" cy="2784431"/>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37" name="Straight Connector 36">
              <a:extLst>
                <a:ext uri="{FF2B5EF4-FFF2-40B4-BE49-F238E27FC236}">
                  <a16:creationId xmlns:a16="http://schemas.microsoft.com/office/drawing/2014/main" id="{7F87D398-575E-5841-7088-7897A875156D}"/>
                </a:ext>
              </a:extLst>
            </p:cNvPr>
            <p:cNvCxnSpPr>
              <a:cxnSpLocks/>
            </p:cNvCxnSpPr>
            <p:nvPr/>
          </p:nvCxnSpPr>
          <p:spPr>
            <a:xfrm>
              <a:off x="2056911" y="2476802"/>
              <a:ext cx="544049" cy="175558"/>
            </a:xfrm>
            <a:prstGeom prst="line">
              <a:avLst/>
            </a:prstGeom>
            <a:ln w="38100"/>
          </p:spPr>
          <p:style>
            <a:lnRef idx="1">
              <a:schemeClr val="accent2"/>
            </a:lnRef>
            <a:fillRef idx="0">
              <a:schemeClr val="accent2"/>
            </a:fillRef>
            <a:effectRef idx="0">
              <a:schemeClr val="accent2"/>
            </a:effectRef>
            <a:fontRef idx="minor">
              <a:schemeClr val="tx1"/>
            </a:fontRef>
          </p:style>
        </p:cxnSp>
        <p:sp>
          <p:nvSpPr>
            <p:cNvPr id="38" name="Freeform: Shape 37">
              <a:extLst>
                <a:ext uri="{FF2B5EF4-FFF2-40B4-BE49-F238E27FC236}">
                  <a16:creationId xmlns:a16="http://schemas.microsoft.com/office/drawing/2014/main" id="{91077BB9-550E-331B-1631-8AC6C35ED5E4}"/>
                </a:ext>
              </a:extLst>
            </p:cNvPr>
            <p:cNvSpPr/>
            <p:nvPr/>
          </p:nvSpPr>
          <p:spPr>
            <a:xfrm>
              <a:off x="1045495" y="1960183"/>
              <a:ext cx="1149527" cy="749696"/>
            </a:xfrm>
            <a:custGeom>
              <a:avLst/>
              <a:gdLst>
                <a:gd name="connsiteX0" fmla="*/ 0 w 1545223"/>
                <a:gd name="connsiteY0" fmla="*/ 463567 h 927134"/>
                <a:gd name="connsiteX1" fmla="*/ 231784 w 1545223"/>
                <a:gd name="connsiteY1" fmla="*/ 0 h 927134"/>
                <a:gd name="connsiteX2" fmla="*/ 1313440 w 1545223"/>
                <a:gd name="connsiteY2" fmla="*/ 0 h 927134"/>
                <a:gd name="connsiteX3" fmla="*/ 1545223 w 1545223"/>
                <a:gd name="connsiteY3" fmla="*/ 463567 h 927134"/>
                <a:gd name="connsiteX4" fmla="*/ 1313440 w 1545223"/>
                <a:gd name="connsiteY4" fmla="*/ 927134 h 927134"/>
                <a:gd name="connsiteX5" fmla="*/ 231784 w 1545223"/>
                <a:gd name="connsiteY5" fmla="*/ 927134 h 927134"/>
                <a:gd name="connsiteX6" fmla="*/ 0 w 1545223"/>
                <a:gd name="connsiteY6" fmla="*/ 463567 h 92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23" h="927134">
                  <a:moveTo>
                    <a:pt x="0" y="463567"/>
                  </a:moveTo>
                  <a:lnTo>
                    <a:pt x="231784" y="0"/>
                  </a:lnTo>
                  <a:lnTo>
                    <a:pt x="1313440" y="0"/>
                  </a:lnTo>
                  <a:lnTo>
                    <a:pt x="1545223" y="463567"/>
                  </a:lnTo>
                  <a:lnTo>
                    <a:pt x="1313440" y="927134"/>
                  </a:lnTo>
                  <a:lnTo>
                    <a:pt x="231784" y="927134"/>
                  </a:lnTo>
                  <a:lnTo>
                    <a:pt x="0" y="463567"/>
                  </a:lnTo>
                  <a:close/>
                </a:path>
              </a:pathLst>
            </a:custGeom>
            <a:solidFill>
              <a:schemeClr val="accent2"/>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8288" tIns="169338" rIns="18288" bIns="169338" numCol="1" spcCol="1270" anchor="ctr" anchorCtr="0">
              <a:noAutofit/>
            </a:bodyPr>
            <a:lstStyle/>
            <a:p>
              <a:pPr lvl="0" algn="ctr" defTabSz="533400">
                <a:lnSpc>
                  <a:spcPct val="90000"/>
                </a:lnSpc>
                <a:spcBef>
                  <a:spcPct val="0"/>
                </a:spcBef>
                <a:spcAft>
                  <a:spcPct val="35000"/>
                </a:spcAft>
                <a:defRPr/>
              </a:pPr>
              <a:r>
                <a:rPr lang="en-US" sz="1000" b="1" dirty="0">
                  <a:solidFill>
                    <a:schemeClr val="tx1"/>
                  </a:solidFill>
                  <a:ea typeface="Verdana" panose="020B0604030504040204" pitchFamily="34" charset="0"/>
                  <a:cs typeface="Verdana" panose="020B0604030504040204" pitchFamily="34" charset="0"/>
                </a:rPr>
                <a:t>PMx</a:t>
              </a:r>
              <a:endParaRPr kumimoji="0" lang="en-US" sz="1000" b="1" i="0" u="none" strike="noStrike" kern="1200" cap="none" spc="0" normalizeH="0" baseline="0" noProof="0" dirty="0">
                <a:ln>
                  <a:noFill/>
                </a:ln>
                <a:solidFill>
                  <a:schemeClr val="tx1"/>
                </a:solidFill>
                <a:effectLst/>
                <a:uLnTx/>
                <a:uFillTx/>
                <a:ea typeface="Verdana" panose="020B0604030504040204" pitchFamily="34" charset="0"/>
                <a:cs typeface="Verdana" panose="020B0604030504040204" pitchFamily="34" charset="0"/>
              </a:endParaRPr>
            </a:p>
          </p:txBody>
        </p:sp>
        <p:sp>
          <p:nvSpPr>
            <p:cNvPr id="39" name="Freeform: Shape 38">
              <a:extLst>
                <a:ext uri="{FF2B5EF4-FFF2-40B4-BE49-F238E27FC236}">
                  <a16:creationId xmlns:a16="http://schemas.microsoft.com/office/drawing/2014/main" id="{D9E72B74-9992-70C0-F3AB-11EF3C6FC875}"/>
                </a:ext>
              </a:extLst>
            </p:cNvPr>
            <p:cNvSpPr/>
            <p:nvPr/>
          </p:nvSpPr>
          <p:spPr>
            <a:xfrm>
              <a:off x="2466871" y="1537753"/>
              <a:ext cx="1149527" cy="749696"/>
            </a:xfrm>
            <a:custGeom>
              <a:avLst/>
              <a:gdLst>
                <a:gd name="connsiteX0" fmla="*/ 0 w 1545223"/>
                <a:gd name="connsiteY0" fmla="*/ 463567 h 927134"/>
                <a:gd name="connsiteX1" fmla="*/ 231784 w 1545223"/>
                <a:gd name="connsiteY1" fmla="*/ 0 h 927134"/>
                <a:gd name="connsiteX2" fmla="*/ 1313440 w 1545223"/>
                <a:gd name="connsiteY2" fmla="*/ 0 h 927134"/>
                <a:gd name="connsiteX3" fmla="*/ 1545223 w 1545223"/>
                <a:gd name="connsiteY3" fmla="*/ 463567 h 927134"/>
                <a:gd name="connsiteX4" fmla="*/ 1313440 w 1545223"/>
                <a:gd name="connsiteY4" fmla="*/ 927134 h 927134"/>
                <a:gd name="connsiteX5" fmla="*/ 231784 w 1545223"/>
                <a:gd name="connsiteY5" fmla="*/ 927134 h 927134"/>
                <a:gd name="connsiteX6" fmla="*/ 0 w 1545223"/>
                <a:gd name="connsiteY6" fmla="*/ 463567 h 92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23" h="927134">
                  <a:moveTo>
                    <a:pt x="0" y="463567"/>
                  </a:moveTo>
                  <a:lnTo>
                    <a:pt x="231784" y="0"/>
                  </a:lnTo>
                  <a:lnTo>
                    <a:pt x="1313440" y="0"/>
                  </a:lnTo>
                  <a:lnTo>
                    <a:pt x="1545223" y="463567"/>
                  </a:lnTo>
                  <a:lnTo>
                    <a:pt x="1313440" y="927134"/>
                  </a:lnTo>
                  <a:lnTo>
                    <a:pt x="231784" y="927134"/>
                  </a:lnTo>
                  <a:lnTo>
                    <a:pt x="0" y="463567"/>
                  </a:lnTo>
                  <a:close/>
                </a:path>
              </a:pathLst>
            </a:custGeom>
            <a:solidFill>
              <a:schemeClr val="accent2"/>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8288" tIns="169338" rIns="18288" bIns="169338" numCol="1" spcCol="1270" anchor="ctr" anchorCtr="0">
              <a:noAutofit/>
            </a:bodyPr>
            <a:lstStyle/>
            <a:p>
              <a:pPr algn="ctr" defTabSz="533400">
                <a:lnSpc>
                  <a:spcPct val="90000"/>
                </a:lnSpc>
                <a:spcBef>
                  <a:spcPct val="0"/>
                </a:spcBef>
                <a:spcAft>
                  <a:spcPct val="35000"/>
                </a:spcAft>
              </a:pPr>
              <a:r>
                <a:rPr lang="en-US" sz="1000" b="1">
                  <a:solidFill>
                    <a:schemeClr val="tx1"/>
                  </a:solidFill>
                  <a:ea typeface="Verdana" panose="020B0604030504040204" pitchFamily="34" charset="0"/>
                </a:rPr>
                <a:t>CPQ</a:t>
              </a:r>
            </a:p>
          </p:txBody>
        </p:sp>
        <p:sp>
          <p:nvSpPr>
            <p:cNvPr id="40" name="Freeform: Shape 39">
              <a:extLst>
                <a:ext uri="{FF2B5EF4-FFF2-40B4-BE49-F238E27FC236}">
                  <a16:creationId xmlns:a16="http://schemas.microsoft.com/office/drawing/2014/main" id="{ADAD4713-F217-3D8F-0337-A546820B81B8}"/>
                </a:ext>
              </a:extLst>
            </p:cNvPr>
            <p:cNvSpPr/>
            <p:nvPr/>
          </p:nvSpPr>
          <p:spPr>
            <a:xfrm>
              <a:off x="3774102" y="1949153"/>
              <a:ext cx="1149527" cy="749696"/>
            </a:xfrm>
            <a:custGeom>
              <a:avLst/>
              <a:gdLst>
                <a:gd name="connsiteX0" fmla="*/ 0 w 1545223"/>
                <a:gd name="connsiteY0" fmla="*/ 463567 h 927134"/>
                <a:gd name="connsiteX1" fmla="*/ 231784 w 1545223"/>
                <a:gd name="connsiteY1" fmla="*/ 0 h 927134"/>
                <a:gd name="connsiteX2" fmla="*/ 1313440 w 1545223"/>
                <a:gd name="connsiteY2" fmla="*/ 0 h 927134"/>
                <a:gd name="connsiteX3" fmla="*/ 1545223 w 1545223"/>
                <a:gd name="connsiteY3" fmla="*/ 463567 h 927134"/>
                <a:gd name="connsiteX4" fmla="*/ 1313440 w 1545223"/>
                <a:gd name="connsiteY4" fmla="*/ 927134 h 927134"/>
                <a:gd name="connsiteX5" fmla="*/ 231784 w 1545223"/>
                <a:gd name="connsiteY5" fmla="*/ 927134 h 927134"/>
                <a:gd name="connsiteX6" fmla="*/ 0 w 1545223"/>
                <a:gd name="connsiteY6" fmla="*/ 463567 h 92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23" h="927134">
                  <a:moveTo>
                    <a:pt x="0" y="463567"/>
                  </a:moveTo>
                  <a:lnTo>
                    <a:pt x="231784" y="0"/>
                  </a:lnTo>
                  <a:lnTo>
                    <a:pt x="1313440" y="0"/>
                  </a:lnTo>
                  <a:lnTo>
                    <a:pt x="1545223" y="463567"/>
                  </a:lnTo>
                  <a:lnTo>
                    <a:pt x="1313440" y="927134"/>
                  </a:lnTo>
                  <a:lnTo>
                    <a:pt x="231784" y="927134"/>
                  </a:lnTo>
                  <a:lnTo>
                    <a:pt x="0" y="463567"/>
                  </a:lnTo>
                  <a:close/>
                </a:path>
              </a:pathLst>
            </a:custGeom>
            <a:solidFill>
              <a:schemeClr val="accent2"/>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8288" tIns="169338" rIns="18288" bIns="169338"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dirty="0">
                  <a:ln>
                    <a:noFill/>
                  </a:ln>
                  <a:solidFill>
                    <a:schemeClr val="tx1"/>
                  </a:solidFill>
                  <a:effectLst/>
                  <a:uLnTx/>
                  <a:uFillTx/>
                  <a:ea typeface="Verdana" panose="020B0604030504040204" pitchFamily="34" charset="0"/>
                  <a:cs typeface="Verdana" panose="020B0604030504040204" pitchFamily="34" charset="0"/>
                </a:rPr>
                <a:t>ICS</a:t>
              </a:r>
            </a:p>
          </p:txBody>
        </p:sp>
        <p:sp>
          <p:nvSpPr>
            <p:cNvPr id="45" name="Freeform: Shape 44">
              <a:extLst>
                <a:ext uri="{FF2B5EF4-FFF2-40B4-BE49-F238E27FC236}">
                  <a16:creationId xmlns:a16="http://schemas.microsoft.com/office/drawing/2014/main" id="{61985156-87E6-4D07-EF7B-90419CB139BF}"/>
                </a:ext>
              </a:extLst>
            </p:cNvPr>
            <p:cNvSpPr/>
            <p:nvPr/>
          </p:nvSpPr>
          <p:spPr>
            <a:xfrm>
              <a:off x="1044663" y="2891262"/>
              <a:ext cx="1149527" cy="749696"/>
            </a:xfrm>
            <a:custGeom>
              <a:avLst/>
              <a:gdLst>
                <a:gd name="connsiteX0" fmla="*/ 0 w 1545223"/>
                <a:gd name="connsiteY0" fmla="*/ 463567 h 927134"/>
                <a:gd name="connsiteX1" fmla="*/ 231784 w 1545223"/>
                <a:gd name="connsiteY1" fmla="*/ 0 h 927134"/>
                <a:gd name="connsiteX2" fmla="*/ 1313440 w 1545223"/>
                <a:gd name="connsiteY2" fmla="*/ 0 h 927134"/>
                <a:gd name="connsiteX3" fmla="*/ 1545223 w 1545223"/>
                <a:gd name="connsiteY3" fmla="*/ 463567 h 927134"/>
                <a:gd name="connsiteX4" fmla="*/ 1313440 w 1545223"/>
                <a:gd name="connsiteY4" fmla="*/ 927134 h 927134"/>
                <a:gd name="connsiteX5" fmla="*/ 231784 w 1545223"/>
                <a:gd name="connsiteY5" fmla="*/ 927134 h 927134"/>
                <a:gd name="connsiteX6" fmla="*/ 0 w 1545223"/>
                <a:gd name="connsiteY6" fmla="*/ 463567 h 92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23" h="927134">
                  <a:moveTo>
                    <a:pt x="0" y="463567"/>
                  </a:moveTo>
                  <a:lnTo>
                    <a:pt x="231784" y="0"/>
                  </a:lnTo>
                  <a:lnTo>
                    <a:pt x="1313440" y="0"/>
                  </a:lnTo>
                  <a:lnTo>
                    <a:pt x="1545223" y="463567"/>
                  </a:lnTo>
                  <a:lnTo>
                    <a:pt x="1313440" y="927134"/>
                  </a:lnTo>
                  <a:lnTo>
                    <a:pt x="231784" y="927134"/>
                  </a:lnTo>
                  <a:lnTo>
                    <a:pt x="0" y="463567"/>
                  </a:lnTo>
                  <a:close/>
                </a:path>
              </a:pathLst>
            </a:custGeom>
            <a:solidFill>
              <a:schemeClr val="accent2"/>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8288" tIns="169338" rIns="18288" bIns="169338" numCol="1" spcCol="1270" anchor="ctr" anchorCtr="0">
              <a:noAutofit/>
            </a:bodyPr>
            <a:lstStyle/>
            <a:p>
              <a:pPr lvl="0" algn="ctr" defTabSz="533400">
                <a:lnSpc>
                  <a:spcPct val="90000"/>
                </a:lnSpc>
                <a:spcBef>
                  <a:spcPct val="0"/>
                </a:spcBef>
                <a:spcAft>
                  <a:spcPct val="35000"/>
                </a:spcAft>
                <a:defRPr/>
              </a:pPr>
              <a:r>
                <a:rPr lang="en-US" sz="1000" b="1" dirty="0">
                  <a:solidFill>
                    <a:schemeClr val="tx1"/>
                  </a:solidFill>
                  <a:ea typeface="Verdana" panose="020B0604030504040204" pitchFamily="34" charset="0"/>
                  <a:cs typeface="Verdana" panose="020B0604030504040204" pitchFamily="34" charset="0"/>
                </a:rPr>
                <a:t>PMx </a:t>
              </a:r>
              <a:r>
                <a:rPr lang="en-US" sz="1000" b="1" dirty="0" err="1">
                  <a:solidFill>
                    <a:schemeClr val="tx1"/>
                  </a:solidFill>
                  <a:ea typeface="Verdana" panose="020B0604030504040204" pitchFamily="34" charset="0"/>
                  <a:cs typeface="Verdana" panose="020B0604030504040204" pitchFamily="34" charset="0"/>
                </a:rPr>
                <a:t>ALM</a:t>
              </a:r>
              <a:endParaRPr kumimoji="0" lang="en-US" sz="1000" b="1" i="0" u="none" strike="noStrike" kern="1200" cap="none" spc="0" normalizeH="0" baseline="0" noProof="0" dirty="0">
                <a:ln>
                  <a:noFill/>
                </a:ln>
                <a:solidFill>
                  <a:schemeClr val="tx1"/>
                </a:solidFill>
                <a:effectLst/>
                <a:uLnTx/>
                <a:uFillTx/>
                <a:ea typeface="Verdana" panose="020B0604030504040204" pitchFamily="34" charset="0"/>
                <a:cs typeface="Verdana" panose="020B0604030504040204" pitchFamily="34" charset="0"/>
              </a:endParaRPr>
            </a:p>
          </p:txBody>
        </p:sp>
        <p:sp>
          <p:nvSpPr>
            <p:cNvPr id="47" name="Freeform: Shape 46">
              <a:extLst>
                <a:ext uri="{FF2B5EF4-FFF2-40B4-BE49-F238E27FC236}">
                  <a16:creationId xmlns:a16="http://schemas.microsoft.com/office/drawing/2014/main" id="{01646A58-AE61-59C1-69C5-17ED8087A26D}"/>
                </a:ext>
              </a:extLst>
            </p:cNvPr>
            <p:cNvSpPr/>
            <p:nvPr/>
          </p:nvSpPr>
          <p:spPr>
            <a:xfrm>
              <a:off x="2466872" y="2458604"/>
              <a:ext cx="1149527" cy="749696"/>
            </a:xfrm>
            <a:custGeom>
              <a:avLst/>
              <a:gdLst>
                <a:gd name="connsiteX0" fmla="*/ 0 w 1545223"/>
                <a:gd name="connsiteY0" fmla="*/ 463567 h 927134"/>
                <a:gd name="connsiteX1" fmla="*/ 231784 w 1545223"/>
                <a:gd name="connsiteY1" fmla="*/ 0 h 927134"/>
                <a:gd name="connsiteX2" fmla="*/ 1313440 w 1545223"/>
                <a:gd name="connsiteY2" fmla="*/ 0 h 927134"/>
                <a:gd name="connsiteX3" fmla="*/ 1545223 w 1545223"/>
                <a:gd name="connsiteY3" fmla="*/ 463567 h 927134"/>
                <a:gd name="connsiteX4" fmla="*/ 1313440 w 1545223"/>
                <a:gd name="connsiteY4" fmla="*/ 927134 h 927134"/>
                <a:gd name="connsiteX5" fmla="*/ 231784 w 1545223"/>
                <a:gd name="connsiteY5" fmla="*/ 927134 h 927134"/>
                <a:gd name="connsiteX6" fmla="*/ 0 w 1545223"/>
                <a:gd name="connsiteY6" fmla="*/ 463567 h 92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23" h="927134">
                  <a:moveTo>
                    <a:pt x="0" y="463567"/>
                  </a:moveTo>
                  <a:lnTo>
                    <a:pt x="231784" y="0"/>
                  </a:lnTo>
                  <a:lnTo>
                    <a:pt x="1313440" y="0"/>
                  </a:lnTo>
                  <a:lnTo>
                    <a:pt x="1545223" y="463567"/>
                  </a:lnTo>
                  <a:lnTo>
                    <a:pt x="1313440" y="927134"/>
                  </a:lnTo>
                  <a:lnTo>
                    <a:pt x="231784" y="927134"/>
                  </a:lnTo>
                  <a:lnTo>
                    <a:pt x="0" y="463567"/>
                  </a:lnTo>
                  <a:close/>
                </a:path>
              </a:pathLst>
            </a:custGeom>
            <a:solidFill>
              <a:schemeClr val="accent2"/>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8288" tIns="169338" rIns="18288" bIns="169338" numCol="1" spcCol="1270" anchor="ctr" anchorCtr="0">
              <a:noAutofit/>
            </a:bodyPr>
            <a:lstStyle/>
            <a:p>
              <a:pPr algn="ctr" defTabSz="533400">
                <a:lnSpc>
                  <a:spcPct val="90000"/>
                </a:lnSpc>
                <a:spcBef>
                  <a:spcPct val="0"/>
                </a:spcBef>
                <a:spcAft>
                  <a:spcPct val="35000"/>
                </a:spcAft>
              </a:pPr>
              <a:r>
                <a:rPr lang="en-US" sz="1000" b="1">
                  <a:solidFill>
                    <a:schemeClr val="tx1"/>
                  </a:solidFill>
                  <a:ea typeface="Verdana" panose="020B0604030504040204" pitchFamily="34" charset="0"/>
                </a:rPr>
                <a:t>CPL</a:t>
              </a:r>
            </a:p>
          </p:txBody>
        </p:sp>
        <p:sp>
          <p:nvSpPr>
            <p:cNvPr id="50" name="Freeform: Shape 49">
              <a:extLst>
                <a:ext uri="{FF2B5EF4-FFF2-40B4-BE49-F238E27FC236}">
                  <a16:creationId xmlns:a16="http://schemas.microsoft.com/office/drawing/2014/main" id="{7857E088-29E7-552C-0AC8-47A50FC122F4}"/>
                </a:ext>
              </a:extLst>
            </p:cNvPr>
            <p:cNvSpPr/>
            <p:nvPr/>
          </p:nvSpPr>
          <p:spPr>
            <a:xfrm>
              <a:off x="3765528" y="2885747"/>
              <a:ext cx="1149527" cy="749696"/>
            </a:xfrm>
            <a:custGeom>
              <a:avLst/>
              <a:gdLst>
                <a:gd name="connsiteX0" fmla="*/ 0 w 1545223"/>
                <a:gd name="connsiteY0" fmla="*/ 463567 h 927134"/>
                <a:gd name="connsiteX1" fmla="*/ 231784 w 1545223"/>
                <a:gd name="connsiteY1" fmla="*/ 0 h 927134"/>
                <a:gd name="connsiteX2" fmla="*/ 1313440 w 1545223"/>
                <a:gd name="connsiteY2" fmla="*/ 0 h 927134"/>
                <a:gd name="connsiteX3" fmla="*/ 1545223 w 1545223"/>
                <a:gd name="connsiteY3" fmla="*/ 463567 h 927134"/>
                <a:gd name="connsiteX4" fmla="*/ 1313440 w 1545223"/>
                <a:gd name="connsiteY4" fmla="*/ 927134 h 927134"/>
                <a:gd name="connsiteX5" fmla="*/ 231784 w 1545223"/>
                <a:gd name="connsiteY5" fmla="*/ 927134 h 927134"/>
                <a:gd name="connsiteX6" fmla="*/ 0 w 1545223"/>
                <a:gd name="connsiteY6" fmla="*/ 463567 h 92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23" h="927134">
                  <a:moveTo>
                    <a:pt x="0" y="463567"/>
                  </a:moveTo>
                  <a:lnTo>
                    <a:pt x="231784" y="0"/>
                  </a:lnTo>
                  <a:lnTo>
                    <a:pt x="1313440" y="0"/>
                  </a:lnTo>
                  <a:lnTo>
                    <a:pt x="1545223" y="463567"/>
                  </a:lnTo>
                  <a:lnTo>
                    <a:pt x="1313440" y="927134"/>
                  </a:lnTo>
                  <a:lnTo>
                    <a:pt x="231784" y="927134"/>
                  </a:lnTo>
                  <a:lnTo>
                    <a:pt x="0" y="463567"/>
                  </a:lnTo>
                  <a:close/>
                </a:path>
              </a:pathLst>
            </a:custGeom>
            <a:solidFill>
              <a:schemeClr val="accent2"/>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8288" tIns="169338" rIns="18288" bIns="169338"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chemeClr val="tx1"/>
                  </a:solidFill>
                  <a:effectLst/>
                  <a:uLnTx/>
                  <a:uFillTx/>
                  <a:ea typeface="Verdana" panose="020B0604030504040204" pitchFamily="34" charset="0"/>
                  <a:cs typeface="Verdana" panose="020B0604030504040204" pitchFamily="34" charset="0"/>
                </a:rPr>
                <a:t>OTM</a:t>
              </a:r>
            </a:p>
          </p:txBody>
        </p:sp>
        <p:sp>
          <p:nvSpPr>
            <p:cNvPr id="53" name="Freeform: Shape 52">
              <a:extLst>
                <a:ext uri="{FF2B5EF4-FFF2-40B4-BE49-F238E27FC236}">
                  <a16:creationId xmlns:a16="http://schemas.microsoft.com/office/drawing/2014/main" id="{B282AEC8-8AD2-7FB9-D4E1-46B97F89976C}"/>
                </a:ext>
              </a:extLst>
            </p:cNvPr>
            <p:cNvSpPr/>
            <p:nvPr/>
          </p:nvSpPr>
          <p:spPr>
            <a:xfrm>
              <a:off x="1043627" y="3822341"/>
              <a:ext cx="1149527" cy="749696"/>
            </a:xfrm>
            <a:custGeom>
              <a:avLst/>
              <a:gdLst>
                <a:gd name="connsiteX0" fmla="*/ 0 w 1545223"/>
                <a:gd name="connsiteY0" fmla="*/ 463567 h 927134"/>
                <a:gd name="connsiteX1" fmla="*/ 231784 w 1545223"/>
                <a:gd name="connsiteY1" fmla="*/ 0 h 927134"/>
                <a:gd name="connsiteX2" fmla="*/ 1313440 w 1545223"/>
                <a:gd name="connsiteY2" fmla="*/ 0 h 927134"/>
                <a:gd name="connsiteX3" fmla="*/ 1545223 w 1545223"/>
                <a:gd name="connsiteY3" fmla="*/ 463567 h 927134"/>
                <a:gd name="connsiteX4" fmla="*/ 1313440 w 1545223"/>
                <a:gd name="connsiteY4" fmla="*/ 927134 h 927134"/>
                <a:gd name="connsiteX5" fmla="*/ 231784 w 1545223"/>
                <a:gd name="connsiteY5" fmla="*/ 927134 h 927134"/>
                <a:gd name="connsiteX6" fmla="*/ 0 w 1545223"/>
                <a:gd name="connsiteY6" fmla="*/ 463567 h 92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23" h="927134">
                  <a:moveTo>
                    <a:pt x="0" y="463567"/>
                  </a:moveTo>
                  <a:lnTo>
                    <a:pt x="231784" y="0"/>
                  </a:lnTo>
                  <a:lnTo>
                    <a:pt x="1313440" y="0"/>
                  </a:lnTo>
                  <a:lnTo>
                    <a:pt x="1545223" y="463567"/>
                  </a:lnTo>
                  <a:lnTo>
                    <a:pt x="1313440" y="927134"/>
                  </a:lnTo>
                  <a:lnTo>
                    <a:pt x="231784" y="927134"/>
                  </a:lnTo>
                  <a:lnTo>
                    <a:pt x="0" y="463567"/>
                  </a:lnTo>
                  <a:close/>
                </a:path>
              </a:pathLst>
            </a:custGeom>
            <a:solidFill>
              <a:schemeClr val="accent2"/>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8288" tIns="169338" rIns="18288" bIns="169338" numCol="1" spcCol="1270" anchor="ctr" anchorCtr="0">
              <a:noAutofit/>
            </a:bodyPr>
            <a:lstStyle/>
            <a:p>
              <a:pPr lvl="0" algn="ctr" defTabSz="533400">
                <a:lnSpc>
                  <a:spcPct val="90000"/>
                </a:lnSpc>
                <a:spcBef>
                  <a:spcPct val="0"/>
                </a:spcBef>
                <a:spcAft>
                  <a:spcPct val="35000"/>
                </a:spcAft>
                <a:defRPr/>
              </a:pPr>
              <a:r>
                <a:rPr lang="en-US" sz="1000" b="1" dirty="0">
                  <a:solidFill>
                    <a:schemeClr val="tx1"/>
                  </a:solidFill>
                  <a:ea typeface="Verdana" panose="020B0604030504040204" pitchFamily="34" charset="0"/>
                  <a:cs typeface="Verdana" panose="020B0604030504040204" pitchFamily="34" charset="0"/>
                </a:rPr>
                <a:t>PMx New Units</a:t>
              </a:r>
              <a:endParaRPr kumimoji="0" lang="en-US" sz="1000" b="1" i="0" u="none" strike="noStrike" kern="1200" cap="none" spc="0" normalizeH="0" baseline="0" noProof="0" dirty="0">
                <a:ln>
                  <a:noFill/>
                </a:ln>
                <a:solidFill>
                  <a:schemeClr val="tx1"/>
                </a:solidFill>
                <a:effectLst/>
                <a:uLnTx/>
                <a:uFillTx/>
                <a:ea typeface="Verdana" panose="020B0604030504040204" pitchFamily="34" charset="0"/>
                <a:cs typeface="Verdana" panose="020B0604030504040204" pitchFamily="34" charset="0"/>
              </a:endParaRPr>
            </a:p>
          </p:txBody>
        </p:sp>
        <p:sp>
          <p:nvSpPr>
            <p:cNvPr id="55" name="Freeform: Shape 54">
              <a:extLst>
                <a:ext uri="{FF2B5EF4-FFF2-40B4-BE49-F238E27FC236}">
                  <a16:creationId xmlns:a16="http://schemas.microsoft.com/office/drawing/2014/main" id="{3808D39D-AC83-7F5A-E36D-949741365196}"/>
                </a:ext>
              </a:extLst>
            </p:cNvPr>
            <p:cNvSpPr/>
            <p:nvPr/>
          </p:nvSpPr>
          <p:spPr>
            <a:xfrm>
              <a:off x="2484471" y="3386849"/>
              <a:ext cx="1149527" cy="749696"/>
            </a:xfrm>
            <a:custGeom>
              <a:avLst/>
              <a:gdLst>
                <a:gd name="connsiteX0" fmla="*/ 0 w 1545223"/>
                <a:gd name="connsiteY0" fmla="*/ 463567 h 927134"/>
                <a:gd name="connsiteX1" fmla="*/ 231784 w 1545223"/>
                <a:gd name="connsiteY1" fmla="*/ 0 h 927134"/>
                <a:gd name="connsiteX2" fmla="*/ 1313440 w 1545223"/>
                <a:gd name="connsiteY2" fmla="*/ 0 h 927134"/>
                <a:gd name="connsiteX3" fmla="*/ 1545223 w 1545223"/>
                <a:gd name="connsiteY3" fmla="*/ 463567 h 927134"/>
                <a:gd name="connsiteX4" fmla="*/ 1313440 w 1545223"/>
                <a:gd name="connsiteY4" fmla="*/ 927134 h 927134"/>
                <a:gd name="connsiteX5" fmla="*/ 231784 w 1545223"/>
                <a:gd name="connsiteY5" fmla="*/ 927134 h 927134"/>
                <a:gd name="connsiteX6" fmla="*/ 0 w 1545223"/>
                <a:gd name="connsiteY6" fmla="*/ 463567 h 92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23" h="927134">
                  <a:moveTo>
                    <a:pt x="0" y="463567"/>
                  </a:moveTo>
                  <a:lnTo>
                    <a:pt x="231784" y="0"/>
                  </a:lnTo>
                  <a:lnTo>
                    <a:pt x="1313440" y="0"/>
                  </a:lnTo>
                  <a:lnTo>
                    <a:pt x="1545223" y="463567"/>
                  </a:lnTo>
                  <a:lnTo>
                    <a:pt x="1313440" y="927134"/>
                  </a:lnTo>
                  <a:lnTo>
                    <a:pt x="231784" y="927134"/>
                  </a:lnTo>
                  <a:lnTo>
                    <a:pt x="0" y="463567"/>
                  </a:lnTo>
                  <a:close/>
                </a:path>
              </a:pathLst>
            </a:custGeom>
            <a:solidFill>
              <a:schemeClr val="accent2"/>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8288" tIns="169338" rIns="18288" bIns="169338" numCol="1" spcCol="1270" anchor="ctr" anchorCtr="0">
              <a:noAutofit/>
            </a:bodyPr>
            <a:lstStyle/>
            <a:p>
              <a:pPr algn="ctr" defTabSz="533400">
                <a:lnSpc>
                  <a:spcPct val="90000"/>
                </a:lnSpc>
                <a:spcBef>
                  <a:spcPct val="0"/>
                </a:spcBef>
                <a:spcAft>
                  <a:spcPct val="35000"/>
                </a:spcAft>
              </a:pPr>
              <a:r>
                <a:rPr lang="en-US" sz="1000" b="1">
                  <a:solidFill>
                    <a:schemeClr val="tx1"/>
                  </a:solidFill>
                  <a:ea typeface="Verdana" panose="020B0604030504040204" pitchFamily="34" charset="0"/>
                </a:rPr>
                <a:t>DIB</a:t>
              </a:r>
            </a:p>
          </p:txBody>
        </p:sp>
        <p:sp>
          <p:nvSpPr>
            <p:cNvPr id="59" name="Freeform: Shape 58">
              <a:extLst>
                <a:ext uri="{FF2B5EF4-FFF2-40B4-BE49-F238E27FC236}">
                  <a16:creationId xmlns:a16="http://schemas.microsoft.com/office/drawing/2014/main" id="{D3C12920-636A-273F-2FA1-3033EEEF4911}"/>
                </a:ext>
              </a:extLst>
            </p:cNvPr>
            <p:cNvSpPr/>
            <p:nvPr/>
          </p:nvSpPr>
          <p:spPr>
            <a:xfrm>
              <a:off x="3765529" y="3822341"/>
              <a:ext cx="1149527" cy="749696"/>
            </a:xfrm>
            <a:custGeom>
              <a:avLst/>
              <a:gdLst>
                <a:gd name="connsiteX0" fmla="*/ 0 w 1545223"/>
                <a:gd name="connsiteY0" fmla="*/ 463567 h 927134"/>
                <a:gd name="connsiteX1" fmla="*/ 231784 w 1545223"/>
                <a:gd name="connsiteY1" fmla="*/ 0 h 927134"/>
                <a:gd name="connsiteX2" fmla="*/ 1313440 w 1545223"/>
                <a:gd name="connsiteY2" fmla="*/ 0 h 927134"/>
                <a:gd name="connsiteX3" fmla="*/ 1545223 w 1545223"/>
                <a:gd name="connsiteY3" fmla="*/ 463567 h 927134"/>
                <a:gd name="connsiteX4" fmla="*/ 1313440 w 1545223"/>
                <a:gd name="connsiteY4" fmla="*/ 927134 h 927134"/>
                <a:gd name="connsiteX5" fmla="*/ 231784 w 1545223"/>
                <a:gd name="connsiteY5" fmla="*/ 927134 h 927134"/>
                <a:gd name="connsiteX6" fmla="*/ 0 w 1545223"/>
                <a:gd name="connsiteY6" fmla="*/ 463567 h 92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23" h="927134">
                  <a:moveTo>
                    <a:pt x="0" y="463567"/>
                  </a:moveTo>
                  <a:lnTo>
                    <a:pt x="231784" y="0"/>
                  </a:lnTo>
                  <a:lnTo>
                    <a:pt x="1313440" y="0"/>
                  </a:lnTo>
                  <a:lnTo>
                    <a:pt x="1545223" y="463567"/>
                  </a:lnTo>
                  <a:lnTo>
                    <a:pt x="1313440" y="927134"/>
                  </a:lnTo>
                  <a:lnTo>
                    <a:pt x="231784" y="927134"/>
                  </a:lnTo>
                  <a:lnTo>
                    <a:pt x="0" y="463567"/>
                  </a:lnTo>
                  <a:close/>
                </a:path>
              </a:pathLst>
            </a:custGeom>
            <a:solidFill>
              <a:schemeClr val="accent2"/>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8288" tIns="169338" rIns="18288" bIns="169338"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chemeClr val="tx1"/>
                  </a:solidFill>
                  <a:effectLst/>
                  <a:uLnTx/>
                  <a:uFillTx/>
                  <a:ea typeface="Verdana" panose="020B0604030504040204" pitchFamily="34" charset="0"/>
                  <a:cs typeface="Verdana" panose="020B0604030504040204" pitchFamily="34" charset="0"/>
                </a:rPr>
                <a:t>PLP</a:t>
              </a:r>
            </a:p>
          </p:txBody>
        </p:sp>
        <p:sp>
          <p:nvSpPr>
            <p:cNvPr id="60" name="Freeform: Shape 59">
              <a:extLst>
                <a:ext uri="{FF2B5EF4-FFF2-40B4-BE49-F238E27FC236}">
                  <a16:creationId xmlns:a16="http://schemas.microsoft.com/office/drawing/2014/main" id="{2D1308D1-FB92-2899-DA8F-08BF04EBC9F0}"/>
                </a:ext>
              </a:extLst>
            </p:cNvPr>
            <p:cNvSpPr/>
            <p:nvPr/>
          </p:nvSpPr>
          <p:spPr>
            <a:xfrm>
              <a:off x="2484785" y="4306441"/>
              <a:ext cx="1149527" cy="749696"/>
            </a:xfrm>
            <a:custGeom>
              <a:avLst/>
              <a:gdLst>
                <a:gd name="connsiteX0" fmla="*/ 0 w 1545223"/>
                <a:gd name="connsiteY0" fmla="*/ 463567 h 927134"/>
                <a:gd name="connsiteX1" fmla="*/ 231784 w 1545223"/>
                <a:gd name="connsiteY1" fmla="*/ 0 h 927134"/>
                <a:gd name="connsiteX2" fmla="*/ 1313440 w 1545223"/>
                <a:gd name="connsiteY2" fmla="*/ 0 h 927134"/>
                <a:gd name="connsiteX3" fmla="*/ 1545223 w 1545223"/>
                <a:gd name="connsiteY3" fmla="*/ 463567 h 927134"/>
                <a:gd name="connsiteX4" fmla="*/ 1313440 w 1545223"/>
                <a:gd name="connsiteY4" fmla="*/ 927134 h 927134"/>
                <a:gd name="connsiteX5" fmla="*/ 231784 w 1545223"/>
                <a:gd name="connsiteY5" fmla="*/ 927134 h 927134"/>
                <a:gd name="connsiteX6" fmla="*/ 0 w 1545223"/>
                <a:gd name="connsiteY6" fmla="*/ 463567 h 92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23" h="927134">
                  <a:moveTo>
                    <a:pt x="0" y="463567"/>
                  </a:moveTo>
                  <a:lnTo>
                    <a:pt x="231784" y="0"/>
                  </a:lnTo>
                  <a:lnTo>
                    <a:pt x="1313440" y="0"/>
                  </a:lnTo>
                  <a:lnTo>
                    <a:pt x="1545223" y="463567"/>
                  </a:lnTo>
                  <a:lnTo>
                    <a:pt x="1313440" y="927134"/>
                  </a:lnTo>
                  <a:lnTo>
                    <a:pt x="231784" y="927134"/>
                  </a:lnTo>
                  <a:lnTo>
                    <a:pt x="0" y="463567"/>
                  </a:lnTo>
                  <a:close/>
                </a:path>
              </a:pathLst>
            </a:custGeom>
            <a:solidFill>
              <a:schemeClr val="accent2"/>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8288" tIns="169338" rIns="18288" bIns="169338"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chemeClr val="tx1"/>
                  </a:solidFill>
                  <a:effectLst/>
                  <a:uLnTx/>
                  <a:uFillTx/>
                  <a:ea typeface="Verdana" panose="020B0604030504040204" pitchFamily="34" charset="0"/>
                  <a:cs typeface="Verdana" panose="020B0604030504040204" pitchFamily="34" charset="0"/>
                </a:rPr>
                <a:t>DLI</a:t>
              </a:r>
            </a:p>
          </p:txBody>
        </p:sp>
        <p:sp>
          <p:nvSpPr>
            <p:cNvPr id="61" name="Freeform: Shape 60">
              <a:extLst>
                <a:ext uri="{FF2B5EF4-FFF2-40B4-BE49-F238E27FC236}">
                  <a16:creationId xmlns:a16="http://schemas.microsoft.com/office/drawing/2014/main" id="{1915BFE9-256E-E565-DDBF-98BF1BEAAE6F}"/>
                </a:ext>
              </a:extLst>
            </p:cNvPr>
            <p:cNvSpPr/>
            <p:nvPr/>
          </p:nvSpPr>
          <p:spPr>
            <a:xfrm>
              <a:off x="3774102" y="4753420"/>
              <a:ext cx="1144748" cy="740890"/>
            </a:xfrm>
            <a:custGeom>
              <a:avLst/>
              <a:gdLst>
                <a:gd name="connsiteX0" fmla="*/ 0 w 1545223"/>
                <a:gd name="connsiteY0" fmla="*/ 463567 h 927134"/>
                <a:gd name="connsiteX1" fmla="*/ 231784 w 1545223"/>
                <a:gd name="connsiteY1" fmla="*/ 0 h 927134"/>
                <a:gd name="connsiteX2" fmla="*/ 1313440 w 1545223"/>
                <a:gd name="connsiteY2" fmla="*/ 0 h 927134"/>
                <a:gd name="connsiteX3" fmla="*/ 1545223 w 1545223"/>
                <a:gd name="connsiteY3" fmla="*/ 463567 h 927134"/>
                <a:gd name="connsiteX4" fmla="*/ 1313440 w 1545223"/>
                <a:gd name="connsiteY4" fmla="*/ 927134 h 927134"/>
                <a:gd name="connsiteX5" fmla="*/ 231784 w 1545223"/>
                <a:gd name="connsiteY5" fmla="*/ 927134 h 927134"/>
                <a:gd name="connsiteX6" fmla="*/ 0 w 1545223"/>
                <a:gd name="connsiteY6" fmla="*/ 463567 h 92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23" h="927134">
                  <a:moveTo>
                    <a:pt x="0" y="463567"/>
                  </a:moveTo>
                  <a:lnTo>
                    <a:pt x="231784" y="0"/>
                  </a:lnTo>
                  <a:lnTo>
                    <a:pt x="1313440" y="0"/>
                  </a:lnTo>
                  <a:lnTo>
                    <a:pt x="1545223" y="463567"/>
                  </a:lnTo>
                  <a:lnTo>
                    <a:pt x="1313440" y="927134"/>
                  </a:lnTo>
                  <a:lnTo>
                    <a:pt x="231784" y="927134"/>
                  </a:lnTo>
                  <a:lnTo>
                    <a:pt x="0" y="463567"/>
                  </a:lnTo>
                  <a:close/>
                </a:path>
              </a:pathLst>
            </a:custGeom>
            <a:solidFill>
              <a:schemeClr val="accent2"/>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8288" tIns="169338" rIns="18288" bIns="169338"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err="1">
                  <a:ln>
                    <a:noFill/>
                  </a:ln>
                  <a:solidFill>
                    <a:schemeClr val="tx1"/>
                  </a:solidFill>
                  <a:effectLst/>
                  <a:uLnTx/>
                  <a:uFillTx/>
                  <a:ea typeface="Verdana" panose="020B0604030504040204" pitchFamily="34" charset="0"/>
                  <a:cs typeface="Verdana" panose="020B0604030504040204" pitchFamily="34" charset="0"/>
                </a:rPr>
                <a:t>Pn</a:t>
              </a:r>
              <a:r>
                <a:rPr lang="en-US" sz="1000" b="1">
                  <a:solidFill>
                    <a:schemeClr val="tx1"/>
                  </a:solidFill>
                  <a:ea typeface="Verdana" panose="020B0604030504040204" pitchFamily="34" charset="0"/>
                  <a:cs typeface="Verdana" panose="020B0604030504040204" pitchFamily="34" charset="0"/>
                </a:rPr>
                <a:t>L360</a:t>
              </a:r>
              <a:endParaRPr kumimoji="0" lang="en-US" sz="1000" b="1" i="0" u="none" strike="noStrike" kern="1200" cap="none" spc="0" normalizeH="0" baseline="0" noProof="0">
                <a:ln>
                  <a:noFill/>
                </a:ln>
                <a:solidFill>
                  <a:schemeClr val="tx1"/>
                </a:solidFill>
                <a:effectLst/>
                <a:uLnTx/>
                <a:uFillTx/>
                <a:ea typeface="Verdana" panose="020B0604030504040204" pitchFamily="34" charset="0"/>
                <a:cs typeface="Verdana" panose="020B0604030504040204" pitchFamily="34" charset="0"/>
              </a:endParaRPr>
            </a:p>
          </p:txBody>
        </p:sp>
        <p:sp>
          <p:nvSpPr>
            <p:cNvPr id="62" name="Freeform: Shape 61">
              <a:extLst>
                <a:ext uri="{FF2B5EF4-FFF2-40B4-BE49-F238E27FC236}">
                  <a16:creationId xmlns:a16="http://schemas.microsoft.com/office/drawing/2014/main" id="{CAB35DDF-48CC-D9B8-8397-B7CB5CCDD14A}"/>
                </a:ext>
              </a:extLst>
            </p:cNvPr>
            <p:cNvSpPr/>
            <p:nvPr/>
          </p:nvSpPr>
          <p:spPr>
            <a:xfrm>
              <a:off x="1048406" y="4753420"/>
              <a:ext cx="1144748" cy="740890"/>
            </a:xfrm>
            <a:custGeom>
              <a:avLst/>
              <a:gdLst>
                <a:gd name="connsiteX0" fmla="*/ 0 w 1545223"/>
                <a:gd name="connsiteY0" fmla="*/ 463567 h 927134"/>
                <a:gd name="connsiteX1" fmla="*/ 231784 w 1545223"/>
                <a:gd name="connsiteY1" fmla="*/ 0 h 927134"/>
                <a:gd name="connsiteX2" fmla="*/ 1313440 w 1545223"/>
                <a:gd name="connsiteY2" fmla="*/ 0 h 927134"/>
                <a:gd name="connsiteX3" fmla="*/ 1545223 w 1545223"/>
                <a:gd name="connsiteY3" fmla="*/ 463567 h 927134"/>
                <a:gd name="connsiteX4" fmla="*/ 1313440 w 1545223"/>
                <a:gd name="connsiteY4" fmla="*/ 927134 h 927134"/>
                <a:gd name="connsiteX5" fmla="*/ 231784 w 1545223"/>
                <a:gd name="connsiteY5" fmla="*/ 927134 h 927134"/>
                <a:gd name="connsiteX6" fmla="*/ 0 w 1545223"/>
                <a:gd name="connsiteY6" fmla="*/ 463567 h 92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23" h="927134">
                  <a:moveTo>
                    <a:pt x="0" y="463567"/>
                  </a:moveTo>
                  <a:lnTo>
                    <a:pt x="231784" y="0"/>
                  </a:lnTo>
                  <a:lnTo>
                    <a:pt x="1313440" y="0"/>
                  </a:lnTo>
                  <a:lnTo>
                    <a:pt x="1545223" y="463567"/>
                  </a:lnTo>
                  <a:lnTo>
                    <a:pt x="1313440" y="927134"/>
                  </a:lnTo>
                  <a:lnTo>
                    <a:pt x="231784" y="927134"/>
                  </a:lnTo>
                  <a:lnTo>
                    <a:pt x="0" y="463567"/>
                  </a:lnTo>
                  <a:close/>
                </a:path>
              </a:pathLst>
            </a:custGeom>
            <a:solidFill>
              <a:schemeClr val="accent2"/>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8288" tIns="169338" rIns="18288" bIns="169338" numCol="1" spcCol="1270" anchor="ctr" anchorCtr="0">
              <a:noAutofit/>
            </a:bodyPr>
            <a:lstStyle/>
            <a:p>
              <a:pPr lvl="0" algn="ctr" defTabSz="533400">
                <a:lnSpc>
                  <a:spcPct val="90000"/>
                </a:lnSpc>
                <a:spcBef>
                  <a:spcPct val="0"/>
                </a:spcBef>
                <a:spcAft>
                  <a:spcPct val="35000"/>
                </a:spcAft>
                <a:defRPr/>
              </a:pPr>
              <a:r>
                <a:rPr lang="en-US" sz="1000" b="1">
                  <a:solidFill>
                    <a:schemeClr val="tx1"/>
                  </a:solidFill>
                  <a:ea typeface="Verdana" panose="020B0604030504040204" pitchFamily="34" charset="0"/>
                  <a:cs typeface="Verdana" panose="020B0604030504040204" pitchFamily="34" charset="0"/>
                </a:rPr>
                <a:t>Alpha Parts </a:t>
              </a:r>
            </a:p>
            <a:p>
              <a:pPr lvl="0" algn="ctr" defTabSz="533400">
                <a:lnSpc>
                  <a:spcPct val="90000"/>
                </a:lnSpc>
                <a:spcBef>
                  <a:spcPct val="0"/>
                </a:spcBef>
                <a:spcAft>
                  <a:spcPct val="35000"/>
                </a:spcAft>
                <a:defRPr/>
              </a:pPr>
              <a:r>
                <a:rPr lang="en-US" sz="1000" b="1">
                  <a:solidFill>
                    <a:schemeClr val="tx1"/>
                  </a:solidFill>
                  <a:ea typeface="Verdana" panose="020B0604030504040204" pitchFamily="34" charset="0"/>
                  <a:cs typeface="Verdana" panose="020B0604030504040204" pitchFamily="34" charset="0"/>
                </a:rPr>
                <a:t>MGPP</a:t>
              </a:r>
              <a:endParaRPr kumimoji="0" lang="en-US" sz="1000" b="1" i="0" u="none" strike="noStrike" kern="1200" cap="none" spc="0" normalizeH="0" baseline="0" noProof="0">
                <a:ln>
                  <a:noFill/>
                </a:ln>
                <a:solidFill>
                  <a:schemeClr val="tx1"/>
                </a:solidFill>
                <a:effectLst/>
                <a:uLnTx/>
                <a:uFillTx/>
                <a:ea typeface="Verdana" panose="020B0604030504040204" pitchFamily="34" charset="0"/>
                <a:cs typeface="Verdana" panose="020B0604030504040204" pitchFamily="34" charset="0"/>
              </a:endParaRPr>
            </a:p>
          </p:txBody>
        </p:sp>
        <p:sp>
          <p:nvSpPr>
            <p:cNvPr id="63" name="Freeform: Shape 62">
              <a:extLst>
                <a:ext uri="{FF2B5EF4-FFF2-40B4-BE49-F238E27FC236}">
                  <a16:creationId xmlns:a16="http://schemas.microsoft.com/office/drawing/2014/main" id="{63948D6A-B1C1-E562-2F33-45BC65B53879}"/>
                </a:ext>
              </a:extLst>
            </p:cNvPr>
            <p:cNvSpPr/>
            <p:nvPr/>
          </p:nvSpPr>
          <p:spPr>
            <a:xfrm>
              <a:off x="2509971" y="5228551"/>
              <a:ext cx="1144748" cy="740890"/>
            </a:xfrm>
            <a:custGeom>
              <a:avLst/>
              <a:gdLst>
                <a:gd name="connsiteX0" fmla="*/ 0 w 1545223"/>
                <a:gd name="connsiteY0" fmla="*/ 463567 h 927134"/>
                <a:gd name="connsiteX1" fmla="*/ 231784 w 1545223"/>
                <a:gd name="connsiteY1" fmla="*/ 0 h 927134"/>
                <a:gd name="connsiteX2" fmla="*/ 1313440 w 1545223"/>
                <a:gd name="connsiteY2" fmla="*/ 0 h 927134"/>
                <a:gd name="connsiteX3" fmla="*/ 1545223 w 1545223"/>
                <a:gd name="connsiteY3" fmla="*/ 463567 h 927134"/>
                <a:gd name="connsiteX4" fmla="*/ 1313440 w 1545223"/>
                <a:gd name="connsiteY4" fmla="*/ 927134 h 927134"/>
                <a:gd name="connsiteX5" fmla="*/ 231784 w 1545223"/>
                <a:gd name="connsiteY5" fmla="*/ 927134 h 927134"/>
                <a:gd name="connsiteX6" fmla="*/ 0 w 1545223"/>
                <a:gd name="connsiteY6" fmla="*/ 463567 h 92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23" h="927134">
                  <a:moveTo>
                    <a:pt x="0" y="463567"/>
                  </a:moveTo>
                  <a:lnTo>
                    <a:pt x="231784" y="0"/>
                  </a:lnTo>
                  <a:lnTo>
                    <a:pt x="1313440" y="0"/>
                  </a:lnTo>
                  <a:lnTo>
                    <a:pt x="1545223" y="463567"/>
                  </a:lnTo>
                  <a:lnTo>
                    <a:pt x="1313440" y="927134"/>
                  </a:lnTo>
                  <a:lnTo>
                    <a:pt x="231784" y="927134"/>
                  </a:lnTo>
                  <a:lnTo>
                    <a:pt x="0" y="463567"/>
                  </a:lnTo>
                  <a:close/>
                </a:path>
              </a:pathLst>
            </a:custGeom>
            <a:solidFill>
              <a:schemeClr val="accent2"/>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8288" tIns="169338" rIns="18288" bIns="169338"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chemeClr val="tx1"/>
                  </a:solidFill>
                  <a:effectLst/>
                  <a:uLnTx/>
                  <a:uFillTx/>
                  <a:ea typeface="Verdana" panose="020B0604030504040204" pitchFamily="34" charset="0"/>
                  <a:cs typeface="Verdana" panose="020B0604030504040204" pitchFamily="34" charset="0"/>
                </a:rPr>
                <a:t>EventVision</a:t>
              </a:r>
            </a:p>
            <a:p>
              <a:pPr marL="0" marR="0" lvl="0" indent="0" algn="ctr" defTabSz="533400" rtl="0" eaLnBrk="1" fontAlgn="auto" latinLnBrk="0" hangingPunct="1">
                <a:lnSpc>
                  <a:spcPct val="90000"/>
                </a:lnSpc>
                <a:spcBef>
                  <a:spcPct val="0"/>
                </a:spcBef>
                <a:spcAft>
                  <a:spcPct val="35000"/>
                </a:spcAft>
                <a:buClrTx/>
                <a:buSzTx/>
                <a:buFontTx/>
                <a:buNone/>
                <a:tabLst/>
                <a:defRPr/>
              </a:pPr>
              <a:r>
                <a:rPr lang="en-US" sz="1000" b="1">
                  <a:solidFill>
                    <a:schemeClr val="tx1"/>
                  </a:solidFill>
                  <a:ea typeface="Verdana" panose="020B0604030504040204" pitchFamily="34" charset="0"/>
                  <a:cs typeface="Verdana" panose="020B0604030504040204" pitchFamily="34" charset="0"/>
                </a:rPr>
                <a:t>GTM</a:t>
              </a:r>
              <a:endParaRPr kumimoji="0" lang="en-US" sz="1000" b="1" i="0" u="none" strike="noStrike" kern="1200" cap="none" spc="0" normalizeH="0" baseline="0" noProof="0">
                <a:ln>
                  <a:noFill/>
                </a:ln>
                <a:solidFill>
                  <a:schemeClr val="tx1"/>
                </a:solidFill>
                <a:effectLst/>
                <a:uLnTx/>
                <a:uFillTx/>
                <a:ea typeface="Verdana" panose="020B0604030504040204" pitchFamily="34" charset="0"/>
                <a:cs typeface="Verdana" panose="020B0604030504040204" pitchFamily="34" charset="0"/>
              </a:endParaRPr>
            </a:p>
          </p:txBody>
        </p:sp>
        <p:sp>
          <p:nvSpPr>
            <p:cNvPr id="64" name="Freeform: Shape 63">
              <a:extLst>
                <a:ext uri="{FF2B5EF4-FFF2-40B4-BE49-F238E27FC236}">
                  <a16:creationId xmlns:a16="http://schemas.microsoft.com/office/drawing/2014/main" id="{32F1491E-506F-833A-D0EC-71C086BB446F}"/>
                </a:ext>
              </a:extLst>
            </p:cNvPr>
            <p:cNvSpPr/>
            <p:nvPr/>
          </p:nvSpPr>
          <p:spPr>
            <a:xfrm>
              <a:off x="5064184" y="3391252"/>
              <a:ext cx="1144748" cy="740890"/>
            </a:xfrm>
            <a:custGeom>
              <a:avLst/>
              <a:gdLst>
                <a:gd name="connsiteX0" fmla="*/ 0 w 1545223"/>
                <a:gd name="connsiteY0" fmla="*/ 463567 h 927134"/>
                <a:gd name="connsiteX1" fmla="*/ 231784 w 1545223"/>
                <a:gd name="connsiteY1" fmla="*/ 0 h 927134"/>
                <a:gd name="connsiteX2" fmla="*/ 1313440 w 1545223"/>
                <a:gd name="connsiteY2" fmla="*/ 0 h 927134"/>
                <a:gd name="connsiteX3" fmla="*/ 1545223 w 1545223"/>
                <a:gd name="connsiteY3" fmla="*/ 463567 h 927134"/>
                <a:gd name="connsiteX4" fmla="*/ 1313440 w 1545223"/>
                <a:gd name="connsiteY4" fmla="*/ 927134 h 927134"/>
                <a:gd name="connsiteX5" fmla="*/ 231784 w 1545223"/>
                <a:gd name="connsiteY5" fmla="*/ 927134 h 927134"/>
                <a:gd name="connsiteX6" fmla="*/ 0 w 1545223"/>
                <a:gd name="connsiteY6" fmla="*/ 463567 h 92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23" h="927134">
                  <a:moveTo>
                    <a:pt x="0" y="463567"/>
                  </a:moveTo>
                  <a:lnTo>
                    <a:pt x="231784" y="0"/>
                  </a:lnTo>
                  <a:lnTo>
                    <a:pt x="1313440" y="0"/>
                  </a:lnTo>
                  <a:lnTo>
                    <a:pt x="1545223" y="463567"/>
                  </a:lnTo>
                  <a:lnTo>
                    <a:pt x="1313440" y="927134"/>
                  </a:lnTo>
                  <a:lnTo>
                    <a:pt x="231784" y="927134"/>
                  </a:lnTo>
                  <a:lnTo>
                    <a:pt x="0" y="463567"/>
                  </a:lnTo>
                  <a:close/>
                </a:path>
              </a:pathLst>
            </a:custGeom>
            <a:solidFill>
              <a:schemeClr val="accent2"/>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8288" tIns="169338" rIns="18288" bIns="169338"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chemeClr val="tx1"/>
                  </a:solidFill>
                  <a:effectLst/>
                  <a:uLnTx/>
                  <a:uFillTx/>
                  <a:ea typeface="Verdana" panose="020B0604030504040204" pitchFamily="34" charset="0"/>
                  <a:cs typeface="Verdana" panose="020B0604030504040204" pitchFamily="34" charset="0"/>
                </a:rPr>
                <a:t>Redwood</a:t>
              </a:r>
            </a:p>
          </p:txBody>
        </p:sp>
        <p:sp>
          <p:nvSpPr>
            <p:cNvPr id="65" name="Freeform: Shape 64">
              <a:extLst>
                <a:ext uri="{FF2B5EF4-FFF2-40B4-BE49-F238E27FC236}">
                  <a16:creationId xmlns:a16="http://schemas.microsoft.com/office/drawing/2014/main" id="{57122EF3-68A6-EE0E-9E30-EBEE57677D5F}"/>
                </a:ext>
              </a:extLst>
            </p:cNvPr>
            <p:cNvSpPr/>
            <p:nvPr/>
          </p:nvSpPr>
          <p:spPr>
            <a:xfrm>
              <a:off x="5034439" y="4315094"/>
              <a:ext cx="1144748" cy="740890"/>
            </a:xfrm>
            <a:custGeom>
              <a:avLst/>
              <a:gdLst>
                <a:gd name="connsiteX0" fmla="*/ 0 w 1545223"/>
                <a:gd name="connsiteY0" fmla="*/ 463567 h 927134"/>
                <a:gd name="connsiteX1" fmla="*/ 231784 w 1545223"/>
                <a:gd name="connsiteY1" fmla="*/ 0 h 927134"/>
                <a:gd name="connsiteX2" fmla="*/ 1313440 w 1545223"/>
                <a:gd name="connsiteY2" fmla="*/ 0 h 927134"/>
                <a:gd name="connsiteX3" fmla="*/ 1545223 w 1545223"/>
                <a:gd name="connsiteY3" fmla="*/ 463567 h 927134"/>
                <a:gd name="connsiteX4" fmla="*/ 1313440 w 1545223"/>
                <a:gd name="connsiteY4" fmla="*/ 927134 h 927134"/>
                <a:gd name="connsiteX5" fmla="*/ 231784 w 1545223"/>
                <a:gd name="connsiteY5" fmla="*/ 927134 h 927134"/>
                <a:gd name="connsiteX6" fmla="*/ 0 w 1545223"/>
                <a:gd name="connsiteY6" fmla="*/ 463567 h 92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23" h="927134">
                  <a:moveTo>
                    <a:pt x="0" y="463567"/>
                  </a:moveTo>
                  <a:lnTo>
                    <a:pt x="231784" y="0"/>
                  </a:lnTo>
                  <a:lnTo>
                    <a:pt x="1313440" y="0"/>
                  </a:lnTo>
                  <a:lnTo>
                    <a:pt x="1545223" y="463567"/>
                  </a:lnTo>
                  <a:lnTo>
                    <a:pt x="1313440" y="927134"/>
                  </a:lnTo>
                  <a:lnTo>
                    <a:pt x="231784" y="927134"/>
                  </a:lnTo>
                  <a:lnTo>
                    <a:pt x="0" y="463567"/>
                  </a:lnTo>
                  <a:close/>
                </a:path>
              </a:pathLst>
            </a:custGeom>
            <a:solidFill>
              <a:schemeClr val="accent2"/>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8288" tIns="169338" rIns="18288" bIns="169338"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chemeClr val="tx1"/>
                  </a:solidFill>
                  <a:effectLst/>
                  <a:uLnTx/>
                  <a:uFillTx/>
                  <a:ea typeface="Verdana" panose="020B0604030504040204" pitchFamily="34" charset="0"/>
                  <a:cs typeface="Verdana" panose="020B0604030504040204" pitchFamily="34" charset="0"/>
                </a:rPr>
                <a:t>SmartShop</a:t>
              </a:r>
            </a:p>
          </p:txBody>
        </p:sp>
        <p:sp>
          <p:nvSpPr>
            <p:cNvPr id="66" name="Freeform: Shape 65">
              <a:extLst>
                <a:ext uri="{FF2B5EF4-FFF2-40B4-BE49-F238E27FC236}">
                  <a16:creationId xmlns:a16="http://schemas.microsoft.com/office/drawing/2014/main" id="{8848816A-7372-6DC3-983E-AD7A7F325DC7}"/>
                </a:ext>
              </a:extLst>
            </p:cNvPr>
            <p:cNvSpPr/>
            <p:nvPr/>
          </p:nvSpPr>
          <p:spPr>
            <a:xfrm>
              <a:off x="5081332" y="5222697"/>
              <a:ext cx="1144748" cy="740890"/>
            </a:xfrm>
            <a:custGeom>
              <a:avLst/>
              <a:gdLst>
                <a:gd name="connsiteX0" fmla="*/ 0 w 1545223"/>
                <a:gd name="connsiteY0" fmla="*/ 463567 h 927134"/>
                <a:gd name="connsiteX1" fmla="*/ 231784 w 1545223"/>
                <a:gd name="connsiteY1" fmla="*/ 0 h 927134"/>
                <a:gd name="connsiteX2" fmla="*/ 1313440 w 1545223"/>
                <a:gd name="connsiteY2" fmla="*/ 0 h 927134"/>
                <a:gd name="connsiteX3" fmla="*/ 1545223 w 1545223"/>
                <a:gd name="connsiteY3" fmla="*/ 463567 h 927134"/>
                <a:gd name="connsiteX4" fmla="*/ 1313440 w 1545223"/>
                <a:gd name="connsiteY4" fmla="*/ 927134 h 927134"/>
                <a:gd name="connsiteX5" fmla="*/ 231784 w 1545223"/>
                <a:gd name="connsiteY5" fmla="*/ 927134 h 927134"/>
                <a:gd name="connsiteX6" fmla="*/ 0 w 1545223"/>
                <a:gd name="connsiteY6" fmla="*/ 463567 h 92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23" h="927134">
                  <a:moveTo>
                    <a:pt x="0" y="463567"/>
                  </a:moveTo>
                  <a:lnTo>
                    <a:pt x="231784" y="0"/>
                  </a:lnTo>
                  <a:lnTo>
                    <a:pt x="1313440" y="0"/>
                  </a:lnTo>
                  <a:lnTo>
                    <a:pt x="1545223" y="463567"/>
                  </a:lnTo>
                  <a:lnTo>
                    <a:pt x="1313440" y="927134"/>
                  </a:lnTo>
                  <a:lnTo>
                    <a:pt x="231784" y="927134"/>
                  </a:lnTo>
                  <a:lnTo>
                    <a:pt x="0" y="463567"/>
                  </a:lnTo>
                  <a:close/>
                </a:path>
              </a:pathLst>
            </a:custGeom>
            <a:solidFill>
              <a:schemeClr val="accent2"/>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8288" tIns="169338" rIns="18288" bIns="169338"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chemeClr val="tx1"/>
                  </a:solidFill>
                  <a:effectLst/>
                  <a:uLnTx/>
                  <a:uFillTx/>
                  <a:ea typeface="Verdana" panose="020B0604030504040204" pitchFamily="34" charset="0"/>
                  <a:cs typeface="Verdana" panose="020B0604030504040204" pitchFamily="34" charset="0"/>
                </a:rPr>
                <a:t>SPEC</a:t>
              </a:r>
            </a:p>
          </p:txBody>
        </p:sp>
        <p:sp>
          <p:nvSpPr>
            <p:cNvPr id="67" name="Freeform: Shape 66">
              <a:extLst>
                <a:ext uri="{FF2B5EF4-FFF2-40B4-BE49-F238E27FC236}">
                  <a16:creationId xmlns:a16="http://schemas.microsoft.com/office/drawing/2014/main" id="{B23A1736-8345-823D-0B77-CB7222F2C406}"/>
                </a:ext>
              </a:extLst>
            </p:cNvPr>
            <p:cNvSpPr/>
            <p:nvPr/>
          </p:nvSpPr>
          <p:spPr>
            <a:xfrm>
              <a:off x="6375209" y="3778180"/>
              <a:ext cx="1144748" cy="740890"/>
            </a:xfrm>
            <a:custGeom>
              <a:avLst/>
              <a:gdLst>
                <a:gd name="connsiteX0" fmla="*/ 0 w 1545223"/>
                <a:gd name="connsiteY0" fmla="*/ 463567 h 927134"/>
                <a:gd name="connsiteX1" fmla="*/ 231784 w 1545223"/>
                <a:gd name="connsiteY1" fmla="*/ 0 h 927134"/>
                <a:gd name="connsiteX2" fmla="*/ 1313440 w 1545223"/>
                <a:gd name="connsiteY2" fmla="*/ 0 h 927134"/>
                <a:gd name="connsiteX3" fmla="*/ 1545223 w 1545223"/>
                <a:gd name="connsiteY3" fmla="*/ 463567 h 927134"/>
                <a:gd name="connsiteX4" fmla="*/ 1313440 w 1545223"/>
                <a:gd name="connsiteY4" fmla="*/ 927134 h 927134"/>
                <a:gd name="connsiteX5" fmla="*/ 231784 w 1545223"/>
                <a:gd name="connsiteY5" fmla="*/ 927134 h 927134"/>
                <a:gd name="connsiteX6" fmla="*/ 0 w 1545223"/>
                <a:gd name="connsiteY6" fmla="*/ 463567 h 92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23" h="927134">
                  <a:moveTo>
                    <a:pt x="0" y="463567"/>
                  </a:moveTo>
                  <a:lnTo>
                    <a:pt x="231784" y="0"/>
                  </a:lnTo>
                  <a:lnTo>
                    <a:pt x="1313440" y="0"/>
                  </a:lnTo>
                  <a:lnTo>
                    <a:pt x="1545223" y="463567"/>
                  </a:lnTo>
                  <a:lnTo>
                    <a:pt x="1313440" y="927134"/>
                  </a:lnTo>
                  <a:lnTo>
                    <a:pt x="231784" y="927134"/>
                  </a:lnTo>
                  <a:lnTo>
                    <a:pt x="0" y="463567"/>
                  </a:lnTo>
                  <a:close/>
                </a:path>
              </a:pathLst>
            </a:custGeom>
            <a:solidFill>
              <a:schemeClr val="accent2"/>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8288" tIns="169338" rIns="18288" bIns="169338"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chemeClr val="tx1"/>
                  </a:solidFill>
                  <a:effectLst/>
                  <a:uLnTx/>
                  <a:uFillTx/>
                  <a:ea typeface="Verdana" panose="020B0604030504040204" pitchFamily="34" charset="0"/>
                  <a:cs typeface="Verdana" panose="020B0604030504040204" pitchFamily="34" charset="0"/>
                </a:rPr>
                <a:t> BW HANA Reports</a:t>
              </a:r>
            </a:p>
          </p:txBody>
        </p:sp>
        <p:sp>
          <p:nvSpPr>
            <p:cNvPr id="68" name="Freeform: Shape 67">
              <a:extLst>
                <a:ext uri="{FF2B5EF4-FFF2-40B4-BE49-F238E27FC236}">
                  <a16:creationId xmlns:a16="http://schemas.microsoft.com/office/drawing/2014/main" id="{0A4A288C-A634-3927-8B06-7879CC3D3E9B}"/>
                </a:ext>
              </a:extLst>
            </p:cNvPr>
            <p:cNvSpPr/>
            <p:nvPr/>
          </p:nvSpPr>
          <p:spPr>
            <a:xfrm>
              <a:off x="5072758" y="2467410"/>
              <a:ext cx="1144748" cy="740890"/>
            </a:xfrm>
            <a:custGeom>
              <a:avLst/>
              <a:gdLst>
                <a:gd name="connsiteX0" fmla="*/ 0 w 1545223"/>
                <a:gd name="connsiteY0" fmla="*/ 463567 h 927134"/>
                <a:gd name="connsiteX1" fmla="*/ 231784 w 1545223"/>
                <a:gd name="connsiteY1" fmla="*/ 0 h 927134"/>
                <a:gd name="connsiteX2" fmla="*/ 1313440 w 1545223"/>
                <a:gd name="connsiteY2" fmla="*/ 0 h 927134"/>
                <a:gd name="connsiteX3" fmla="*/ 1545223 w 1545223"/>
                <a:gd name="connsiteY3" fmla="*/ 463567 h 927134"/>
                <a:gd name="connsiteX4" fmla="*/ 1313440 w 1545223"/>
                <a:gd name="connsiteY4" fmla="*/ 927134 h 927134"/>
                <a:gd name="connsiteX5" fmla="*/ 231784 w 1545223"/>
                <a:gd name="connsiteY5" fmla="*/ 927134 h 927134"/>
                <a:gd name="connsiteX6" fmla="*/ 0 w 1545223"/>
                <a:gd name="connsiteY6" fmla="*/ 463567 h 92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23" h="927134">
                  <a:moveTo>
                    <a:pt x="0" y="463567"/>
                  </a:moveTo>
                  <a:lnTo>
                    <a:pt x="231784" y="0"/>
                  </a:lnTo>
                  <a:lnTo>
                    <a:pt x="1313440" y="0"/>
                  </a:lnTo>
                  <a:lnTo>
                    <a:pt x="1545223" y="463567"/>
                  </a:lnTo>
                  <a:lnTo>
                    <a:pt x="1313440" y="927134"/>
                  </a:lnTo>
                  <a:lnTo>
                    <a:pt x="231784" y="927134"/>
                  </a:lnTo>
                  <a:lnTo>
                    <a:pt x="0" y="463567"/>
                  </a:lnTo>
                  <a:close/>
                </a:path>
              </a:pathLst>
            </a:custGeom>
            <a:solidFill>
              <a:schemeClr val="accent2"/>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8288" tIns="169338" rIns="18288" bIns="169338"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chemeClr val="tx1"/>
                  </a:solidFill>
                  <a:effectLst/>
                  <a:uLnTx/>
                  <a:uFillTx/>
                  <a:ea typeface="Verdana" panose="020B0604030504040204" pitchFamily="34" charset="0"/>
                  <a:cs typeface="Verdana" panose="020B0604030504040204" pitchFamily="34" charset="0"/>
                </a:rPr>
                <a:t>RealTrack</a:t>
              </a:r>
            </a:p>
          </p:txBody>
        </p:sp>
        <p:sp>
          <p:nvSpPr>
            <p:cNvPr id="69" name="Freeform: Shape 68">
              <a:extLst>
                <a:ext uri="{FF2B5EF4-FFF2-40B4-BE49-F238E27FC236}">
                  <a16:creationId xmlns:a16="http://schemas.microsoft.com/office/drawing/2014/main" id="{734C008F-C6ED-BE7B-DADA-9DCE4E6B1FC1}"/>
                </a:ext>
              </a:extLst>
            </p:cNvPr>
            <p:cNvSpPr/>
            <p:nvPr/>
          </p:nvSpPr>
          <p:spPr>
            <a:xfrm>
              <a:off x="5081332" y="1546559"/>
              <a:ext cx="1144748" cy="740890"/>
            </a:xfrm>
            <a:custGeom>
              <a:avLst/>
              <a:gdLst>
                <a:gd name="connsiteX0" fmla="*/ 0 w 1545223"/>
                <a:gd name="connsiteY0" fmla="*/ 463567 h 927134"/>
                <a:gd name="connsiteX1" fmla="*/ 231784 w 1545223"/>
                <a:gd name="connsiteY1" fmla="*/ 0 h 927134"/>
                <a:gd name="connsiteX2" fmla="*/ 1313440 w 1545223"/>
                <a:gd name="connsiteY2" fmla="*/ 0 h 927134"/>
                <a:gd name="connsiteX3" fmla="*/ 1545223 w 1545223"/>
                <a:gd name="connsiteY3" fmla="*/ 463567 h 927134"/>
                <a:gd name="connsiteX4" fmla="*/ 1313440 w 1545223"/>
                <a:gd name="connsiteY4" fmla="*/ 927134 h 927134"/>
                <a:gd name="connsiteX5" fmla="*/ 231784 w 1545223"/>
                <a:gd name="connsiteY5" fmla="*/ 927134 h 927134"/>
                <a:gd name="connsiteX6" fmla="*/ 0 w 1545223"/>
                <a:gd name="connsiteY6" fmla="*/ 463567 h 92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23" h="927134">
                  <a:moveTo>
                    <a:pt x="0" y="463567"/>
                  </a:moveTo>
                  <a:lnTo>
                    <a:pt x="231784" y="0"/>
                  </a:lnTo>
                  <a:lnTo>
                    <a:pt x="1313440" y="0"/>
                  </a:lnTo>
                  <a:lnTo>
                    <a:pt x="1545223" y="463567"/>
                  </a:lnTo>
                  <a:lnTo>
                    <a:pt x="1313440" y="927134"/>
                  </a:lnTo>
                  <a:lnTo>
                    <a:pt x="231784" y="927134"/>
                  </a:lnTo>
                  <a:lnTo>
                    <a:pt x="0" y="463567"/>
                  </a:lnTo>
                  <a:close/>
                </a:path>
              </a:pathLst>
            </a:custGeom>
            <a:solidFill>
              <a:schemeClr val="accent2"/>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8288" tIns="169338" rIns="18288" bIns="169338"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000" b="1" i="0" u="none" strike="noStrike" kern="1200" cap="none" spc="0" normalizeH="0" baseline="0" noProof="0">
                  <a:ln>
                    <a:noFill/>
                  </a:ln>
                  <a:solidFill>
                    <a:schemeClr val="tx1"/>
                  </a:solidFill>
                  <a:effectLst/>
                  <a:uLnTx/>
                  <a:uFillTx/>
                  <a:ea typeface="Verdana" panose="020B0604030504040204" pitchFamily="34" charset="0"/>
                  <a:cs typeface="Verdana" panose="020B0604030504040204" pitchFamily="34" charset="0"/>
                </a:rPr>
                <a:t>Power Customer Portal</a:t>
              </a:r>
            </a:p>
          </p:txBody>
        </p:sp>
        <p:sp>
          <p:nvSpPr>
            <p:cNvPr id="70" name="Freeform: Shape 69">
              <a:extLst>
                <a:ext uri="{FF2B5EF4-FFF2-40B4-BE49-F238E27FC236}">
                  <a16:creationId xmlns:a16="http://schemas.microsoft.com/office/drawing/2014/main" id="{8DA93DC9-8BC8-AA01-AA84-612B8DEBAE1D}"/>
                </a:ext>
              </a:extLst>
            </p:cNvPr>
            <p:cNvSpPr/>
            <p:nvPr/>
          </p:nvSpPr>
          <p:spPr>
            <a:xfrm>
              <a:off x="6375209" y="2890150"/>
              <a:ext cx="1144748" cy="740890"/>
            </a:xfrm>
            <a:custGeom>
              <a:avLst/>
              <a:gdLst>
                <a:gd name="connsiteX0" fmla="*/ 0 w 1545223"/>
                <a:gd name="connsiteY0" fmla="*/ 463567 h 927134"/>
                <a:gd name="connsiteX1" fmla="*/ 231784 w 1545223"/>
                <a:gd name="connsiteY1" fmla="*/ 0 h 927134"/>
                <a:gd name="connsiteX2" fmla="*/ 1313440 w 1545223"/>
                <a:gd name="connsiteY2" fmla="*/ 0 h 927134"/>
                <a:gd name="connsiteX3" fmla="*/ 1545223 w 1545223"/>
                <a:gd name="connsiteY3" fmla="*/ 463567 h 927134"/>
                <a:gd name="connsiteX4" fmla="*/ 1313440 w 1545223"/>
                <a:gd name="connsiteY4" fmla="*/ 927134 h 927134"/>
                <a:gd name="connsiteX5" fmla="*/ 231784 w 1545223"/>
                <a:gd name="connsiteY5" fmla="*/ 927134 h 927134"/>
                <a:gd name="connsiteX6" fmla="*/ 0 w 1545223"/>
                <a:gd name="connsiteY6" fmla="*/ 463567 h 92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23" h="927134">
                  <a:moveTo>
                    <a:pt x="0" y="463567"/>
                  </a:moveTo>
                  <a:lnTo>
                    <a:pt x="231784" y="0"/>
                  </a:lnTo>
                  <a:lnTo>
                    <a:pt x="1313440" y="0"/>
                  </a:lnTo>
                  <a:lnTo>
                    <a:pt x="1545223" y="463567"/>
                  </a:lnTo>
                  <a:lnTo>
                    <a:pt x="1313440" y="927134"/>
                  </a:lnTo>
                  <a:lnTo>
                    <a:pt x="231784" y="927134"/>
                  </a:lnTo>
                  <a:lnTo>
                    <a:pt x="0" y="463567"/>
                  </a:lnTo>
                  <a:close/>
                </a:path>
              </a:pathLst>
            </a:custGeom>
            <a:solidFill>
              <a:schemeClr val="accent2"/>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8288" tIns="169338" rIns="18288" bIns="169338" numCol="1" spcCol="1270" anchor="ctr" anchorCtr="0">
              <a:noAutofit/>
            </a:bodyPr>
            <a:lstStyle/>
            <a:p>
              <a:pPr lvl="0" algn="ctr" defTabSz="533400">
                <a:lnSpc>
                  <a:spcPct val="90000"/>
                </a:lnSpc>
                <a:spcBef>
                  <a:spcPct val="0"/>
                </a:spcBef>
                <a:spcAft>
                  <a:spcPct val="35000"/>
                </a:spcAft>
                <a:defRPr/>
              </a:pPr>
              <a:r>
                <a:rPr lang="en-US" sz="1000" b="1">
                  <a:solidFill>
                    <a:schemeClr val="tx1"/>
                  </a:solidFill>
                  <a:ea typeface="Verdana" panose="020B0604030504040204" pitchFamily="34" charset="0"/>
                  <a:cs typeface="Verdana" panose="020B0604030504040204" pitchFamily="34" charset="0"/>
                </a:rPr>
                <a:t>Ariba</a:t>
              </a:r>
              <a:endParaRPr kumimoji="0" lang="en-US" sz="1000" b="1" i="0" u="none" strike="noStrike" kern="1200" cap="none" spc="0" normalizeH="0" baseline="0" noProof="0">
                <a:ln>
                  <a:noFill/>
                </a:ln>
                <a:solidFill>
                  <a:schemeClr val="tx1"/>
                </a:solidFill>
                <a:effectLst/>
                <a:uLnTx/>
                <a:uFillTx/>
                <a:ea typeface="Verdana" panose="020B0604030504040204" pitchFamily="34" charset="0"/>
                <a:cs typeface="Verdana" panose="020B0604030504040204" pitchFamily="34" charset="0"/>
              </a:endParaRPr>
            </a:p>
          </p:txBody>
        </p:sp>
        <p:cxnSp>
          <p:nvCxnSpPr>
            <p:cNvPr id="71" name="Straight Connector 70">
              <a:extLst>
                <a:ext uri="{FF2B5EF4-FFF2-40B4-BE49-F238E27FC236}">
                  <a16:creationId xmlns:a16="http://schemas.microsoft.com/office/drawing/2014/main" id="{253B2222-BC38-22E9-D720-19EBEE07A4EB}"/>
                </a:ext>
              </a:extLst>
            </p:cNvPr>
            <p:cNvCxnSpPr>
              <a:cxnSpLocks/>
            </p:cNvCxnSpPr>
            <p:nvPr/>
          </p:nvCxnSpPr>
          <p:spPr>
            <a:xfrm flipV="1">
              <a:off x="2098300" y="1950260"/>
              <a:ext cx="386171" cy="177710"/>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72" name="Straight Connector 71">
              <a:extLst>
                <a:ext uri="{FF2B5EF4-FFF2-40B4-BE49-F238E27FC236}">
                  <a16:creationId xmlns:a16="http://schemas.microsoft.com/office/drawing/2014/main" id="{9B021660-7700-B227-9CE2-C1CA936F9E56}"/>
                </a:ext>
              </a:extLst>
            </p:cNvPr>
            <p:cNvCxnSpPr>
              <a:cxnSpLocks/>
            </p:cNvCxnSpPr>
            <p:nvPr/>
          </p:nvCxnSpPr>
          <p:spPr>
            <a:xfrm>
              <a:off x="2088442" y="3481302"/>
              <a:ext cx="544049" cy="175558"/>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73" name="Straight Connector 72">
              <a:extLst>
                <a:ext uri="{FF2B5EF4-FFF2-40B4-BE49-F238E27FC236}">
                  <a16:creationId xmlns:a16="http://schemas.microsoft.com/office/drawing/2014/main" id="{C4DBFA5E-DEEF-5E34-8E73-49D62E747817}"/>
                </a:ext>
              </a:extLst>
            </p:cNvPr>
            <p:cNvCxnSpPr>
              <a:cxnSpLocks/>
            </p:cNvCxnSpPr>
            <p:nvPr/>
          </p:nvCxnSpPr>
          <p:spPr>
            <a:xfrm flipV="1">
              <a:off x="2112231" y="2917101"/>
              <a:ext cx="386171" cy="177710"/>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74" name="Straight Connector 73">
              <a:extLst>
                <a:ext uri="{FF2B5EF4-FFF2-40B4-BE49-F238E27FC236}">
                  <a16:creationId xmlns:a16="http://schemas.microsoft.com/office/drawing/2014/main" id="{9F7F4033-9890-8D53-6571-BF6F0D62485B}"/>
                </a:ext>
              </a:extLst>
            </p:cNvPr>
            <p:cNvCxnSpPr>
              <a:cxnSpLocks/>
            </p:cNvCxnSpPr>
            <p:nvPr/>
          </p:nvCxnSpPr>
          <p:spPr>
            <a:xfrm>
              <a:off x="2104342" y="4448103"/>
              <a:ext cx="544049" cy="175558"/>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75" name="Straight Connector 74">
              <a:extLst>
                <a:ext uri="{FF2B5EF4-FFF2-40B4-BE49-F238E27FC236}">
                  <a16:creationId xmlns:a16="http://schemas.microsoft.com/office/drawing/2014/main" id="{9C0BEF06-5A89-E3B9-194D-AC9FE87C1BC6}"/>
                </a:ext>
              </a:extLst>
            </p:cNvPr>
            <p:cNvCxnSpPr>
              <a:cxnSpLocks/>
            </p:cNvCxnSpPr>
            <p:nvPr/>
          </p:nvCxnSpPr>
          <p:spPr>
            <a:xfrm>
              <a:off x="2118563" y="5331266"/>
              <a:ext cx="544049" cy="175558"/>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76" name="Straight Connector 75">
              <a:extLst>
                <a:ext uri="{FF2B5EF4-FFF2-40B4-BE49-F238E27FC236}">
                  <a16:creationId xmlns:a16="http://schemas.microsoft.com/office/drawing/2014/main" id="{B2DA6266-2E8E-A661-2650-29BBB918D708}"/>
                </a:ext>
              </a:extLst>
            </p:cNvPr>
            <p:cNvCxnSpPr>
              <a:cxnSpLocks/>
            </p:cNvCxnSpPr>
            <p:nvPr/>
          </p:nvCxnSpPr>
          <p:spPr>
            <a:xfrm flipV="1">
              <a:off x="2142352" y="4767065"/>
              <a:ext cx="386171" cy="177710"/>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77" name="Straight Connector 76">
              <a:extLst>
                <a:ext uri="{FF2B5EF4-FFF2-40B4-BE49-F238E27FC236}">
                  <a16:creationId xmlns:a16="http://schemas.microsoft.com/office/drawing/2014/main" id="{CBE0D4C2-2A35-A35C-B774-FDEB0629D5EF}"/>
                </a:ext>
              </a:extLst>
            </p:cNvPr>
            <p:cNvCxnSpPr>
              <a:cxnSpLocks/>
            </p:cNvCxnSpPr>
            <p:nvPr/>
          </p:nvCxnSpPr>
          <p:spPr>
            <a:xfrm>
              <a:off x="3495886" y="3017471"/>
              <a:ext cx="544049" cy="175558"/>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78" name="Straight Connector 77">
              <a:extLst>
                <a:ext uri="{FF2B5EF4-FFF2-40B4-BE49-F238E27FC236}">
                  <a16:creationId xmlns:a16="http://schemas.microsoft.com/office/drawing/2014/main" id="{E835CA64-79C0-A85A-CEEF-7409DB1EA7DF}"/>
                </a:ext>
              </a:extLst>
            </p:cNvPr>
            <p:cNvCxnSpPr>
              <a:cxnSpLocks/>
            </p:cNvCxnSpPr>
            <p:nvPr/>
          </p:nvCxnSpPr>
          <p:spPr>
            <a:xfrm flipV="1">
              <a:off x="3519675" y="2453270"/>
              <a:ext cx="386171" cy="177710"/>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79" name="Straight Connector 78">
              <a:extLst>
                <a:ext uri="{FF2B5EF4-FFF2-40B4-BE49-F238E27FC236}">
                  <a16:creationId xmlns:a16="http://schemas.microsoft.com/office/drawing/2014/main" id="{532993D0-0350-6598-134E-E323DD9BE8CE}"/>
                </a:ext>
              </a:extLst>
            </p:cNvPr>
            <p:cNvCxnSpPr>
              <a:cxnSpLocks/>
            </p:cNvCxnSpPr>
            <p:nvPr/>
          </p:nvCxnSpPr>
          <p:spPr>
            <a:xfrm>
              <a:off x="3500604" y="3938649"/>
              <a:ext cx="544049" cy="175558"/>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80" name="Straight Connector 79">
              <a:extLst>
                <a:ext uri="{FF2B5EF4-FFF2-40B4-BE49-F238E27FC236}">
                  <a16:creationId xmlns:a16="http://schemas.microsoft.com/office/drawing/2014/main" id="{8602A84E-9C88-3B8E-4754-DC8B2388B094}"/>
                </a:ext>
              </a:extLst>
            </p:cNvPr>
            <p:cNvCxnSpPr>
              <a:cxnSpLocks/>
            </p:cNvCxnSpPr>
            <p:nvPr/>
          </p:nvCxnSpPr>
          <p:spPr>
            <a:xfrm flipV="1">
              <a:off x="3524393" y="3374448"/>
              <a:ext cx="386171" cy="177710"/>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81" name="Straight Connector 80">
              <a:extLst>
                <a:ext uri="{FF2B5EF4-FFF2-40B4-BE49-F238E27FC236}">
                  <a16:creationId xmlns:a16="http://schemas.microsoft.com/office/drawing/2014/main" id="{7371B4D1-039E-C17B-A557-A93DC463D0EA}"/>
                </a:ext>
              </a:extLst>
            </p:cNvPr>
            <p:cNvCxnSpPr>
              <a:cxnSpLocks/>
            </p:cNvCxnSpPr>
            <p:nvPr/>
          </p:nvCxnSpPr>
          <p:spPr>
            <a:xfrm>
              <a:off x="3530937" y="4874444"/>
              <a:ext cx="544049" cy="175558"/>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82" name="Straight Connector 81">
              <a:extLst>
                <a:ext uri="{FF2B5EF4-FFF2-40B4-BE49-F238E27FC236}">
                  <a16:creationId xmlns:a16="http://schemas.microsoft.com/office/drawing/2014/main" id="{AE70B10E-6276-D75D-CD6F-315325DBE03B}"/>
                </a:ext>
              </a:extLst>
            </p:cNvPr>
            <p:cNvCxnSpPr>
              <a:cxnSpLocks/>
            </p:cNvCxnSpPr>
            <p:nvPr/>
          </p:nvCxnSpPr>
          <p:spPr>
            <a:xfrm flipV="1">
              <a:off x="3554726" y="4310243"/>
              <a:ext cx="386171" cy="177710"/>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83" name="Straight Connector 82">
              <a:extLst>
                <a:ext uri="{FF2B5EF4-FFF2-40B4-BE49-F238E27FC236}">
                  <a16:creationId xmlns:a16="http://schemas.microsoft.com/office/drawing/2014/main" id="{9F5E76AA-B817-2477-47C2-8934A7B22BE6}"/>
                </a:ext>
              </a:extLst>
            </p:cNvPr>
            <p:cNvCxnSpPr>
              <a:cxnSpLocks/>
            </p:cNvCxnSpPr>
            <p:nvPr/>
          </p:nvCxnSpPr>
          <p:spPr>
            <a:xfrm>
              <a:off x="4751835" y="2547485"/>
              <a:ext cx="544049" cy="175558"/>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84" name="Straight Connector 83">
              <a:extLst>
                <a:ext uri="{FF2B5EF4-FFF2-40B4-BE49-F238E27FC236}">
                  <a16:creationId xmlns:a16="http://schemas.microsoft.com/office/drawing/2014/main" id="{76B07CEC-14DF-6562-375E-617D91E02AF4}"/>
                </a:ext>
              </a:extLst>
            </p:cNvPr>
            <p:cNvCxnSpPr>
              <a:cxnSpLocks/>
            </p:cNvCxnSpPr>
            <p:nvPr/>
          </p:nvCxnSpPr>
          <p:spPr>
            <a:xfrm flipV="1">
              <a:off x="4775624" y="1983284"/>
              <a:ext cx="386171" cy="177710"/>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85" name="Straight Connector 84">
              <a:extLst>
                <a:ext uri="{FF2B5EF4-FFF2-40B4-BE49-F238E27FC236}">
                  <a16:creationId xmlns:a16="http://schemas.microsoft.com/office/drawing/2014/main" id="{A6EA14BC-BFB1-AC53-ED99-ECECB6F1B882}"/>
                </a:ext>
              </a:extLst>
            </p:cNvPr>
            <p:cNvCxnSpPr>
              <a:cxnSpLocks/>
            </p:cNvCxnSpPr>
            <p:nvPr/>
          </p:nvCxnSpPr>
          <p:spPr>
            <a:xfrm>
              <a:off x="4804512" y="3442364"/>
              <a:ext cx="544049" cy="175558"/>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86" name="Straight Connector 85">
              <a:extLst>
                <a:ext uri="{FF2B5EF4-FFF2-40B4-BE49-F238E27FC236}">
                  <a16:creationId xmlns:a16="http://schemas.microsoft.com/office/drawing/2014/main" id="{D9206BCD-90AB-A477-915E-8E3C6D993998}"/>
                </a:ext>
              </a:extLst>
            </p:cNvPr>
            <p:cNvCxnSpPr>
              <a:cxnSpLocks/>
            </p:cNvCxnSpPr>
            <p:nvPr/>
          </p:nvCxnSpPr>
          <p:spPr>
            <a:xfrm flipV="1">
              <a:off x="4828301" y="2878163"/>
              <a:ext cx="386171" cy="177710"/>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87" name="Straight Connector 86">
              <a:extLst>
                <a:ext uri="{FF2B5EF4-FFF2-40B4-BE49-F238E27FC236}">
                  <a16:creationId xmlns:a16="http://schemas.microsoft.com/office/drawing/2014/main" id="{BA53AA4D-6566-D84D-7DA5-9177EC1C936C}"/>
                </a:ext>
              </a:extLst>
            </p:cNvPr>
            <p:cNvCxnSpPr>
              <a:cxnSpLocks/>
            </p:cNvCxnSpPr>
            <p:nvPr/>
          </p:nvCxnSpPr>
          <p:spPr>
            <a:xfrm>
              <a:off x="4828301" y="4358527"/>
              <a:ext cx="544049" cy="175558"/>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88" name="Straight Connector 87">
              <a:extLst>
                <a:ext uri="{FF2B5EF4-FFF2-40B4-BE49-F238E27FC236}">
                  <a16:creationId xmlns:a16="http://schemas.microsoft.com/office/drawing/2014/main" id="{3618EDD7-4638-CF24-82D9-312867697B72}"/>
                </a:ext>
              </a:extLst>
            </p:cNvPr>
            <p:cNvCxnSpPr>
              <a:cxnSpLocks/>
            </p:cNvCxnSpPr>
            <p:nvPr/>
          </p:nvCxnSpPr>
          <p:spPr>
            <a:xfrm flipV="1">
              <a:off x="4770810" y="3794326"/>
              <a:ext cx="386171" cy="177710"/>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89" name="Straight Connector 88">
              <a:extLst>
                <a:ext uri="{FF2B5EF4-FFF2-40B4-BE49-F238E27FC236}">
                  <a16:creationId xmlns:a16="http://schemas.microsoft.com/office/drawing/2014/main" id="{5604C073-2258-7A9F-92D7-EE7A3DDCF85D}"/>
                </a:ext>
              </a:extLst>
            </p:cNvPr>
            <p:cNvCxnSpPr>
              <a:cxnSpLocks/>
            </p:cNvCxnSpPr>
            <p:nvPr/>
          </p:nvCxnSpPr>
          <p:spPr>
            <a:xfrm>
              <a:off x="4787526" y="5341152"/>
              <a:ext cx="544049" cy="175558"/>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90" name="Straight Connector 89">
              <a:extLst>
                <a:ext uri="{FF2B5EF4-FFF2-40B4-BE49-F238E27FC236}">
                  <a16:creationId xmlns:a16="http://schemas.microsoft.com/office/drawing/2014/main" id="{0C46A594-C206-24AB-E754-5046CEEFC023}"/>
                </a:ext>
              </a:extLst>
            </p:cNvPr>
            <p:cNvCxnSpPr>
              <a:cxnSpLocks/>
            </p:cNvCxnSpPr>
            <p:nvPr/>
          </p:nvCxnSpPr>
          <p:spPr>
            <a:xfrm flipV="1">
              <a:off x="4730035" y="4776951"/>
              <a:ext cx="386171" cy="177710"/>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91" name="Straight Connector 90">
              <a:extLst>
                <a:ext uri="{FF2B5EF4-FFF2-40B4-BE49-F238E27FC236}">
                  <a16:creationId xmlns:a16="http://schemas.microsoft.com/office/drawing/2014/main" id="{24525E4E-7BEE-D6B7-7AF5-136C56EEA6C0}"/>
                </a:ext>
              </a:extLst>
            </p:cNvPr>
            <p:cNvCxnSpPr>
              <a:cxnSpLocks/>
            </p:cNvCxnSpPr>
            <p:nvPr/>
          </p:nvCxnSpPr>
          <p:spPr>
            <a:xfrm flipV="1">
              <a:off x="6072676" y="3380391"/>
              <a:ext cx="386171" cy="177710"/>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92" name="Straight Connector 91">
              <a:extLst>
                <a:ext uri="{FF2B5EF4-FFF2-40B4-BE49-F238E27FC236}">
                  <a16:creationId xmlns:a16="http://schemas.microsoft.com/office/drawing/2014/main" id="{EF9A2592-8DE1-2F1E-E0EC-059860B6A553}"/>
                </a:ext>
              </a:extLst>
            </p:cNvPr>
            <p:cNvCxnSpPr>
              <a:cxnSpLocks/>
            </p:cNvCxnSpPr>
            <p:nvPr/>
          </p:nvCxnSpPr>
          <p:spPr>
            <a:xfrm>
              <a:off x="3502076" y="2080414"/>
              <a:ext cx="386171" cy="132398"/>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93" name="Straight Connector 92">
              <a:extLst>
                <a:ext uri="{FF2B5EF4-FFF2-40B4-BE49-F238E27FC236}">
                  <a16:creationId xmlns:a16="http://schemas.microsoft.com/office/drawing/2014/main" id="{243BB646-8C13-D8B5-876B-CB129A5E1F77}"/>
                </a:ext>
              </a:extLst>
            </p:cNvPr>
            <p:cNvCxnSpPr>
              <a:cxnSpLocks/>
            </p:cNvCxnSpPr>
            <p:nvPr/>
          </p:nvCxnSpPr>
          <p:spPr>
            <a:xfrm flipV="1">
              <a:off x="6072676" y="4325840"/>
              <a:ext cx="386171" cy="177710"/>
            </a:xfrm>
            <a:prstGeom prst="line">
              <a:avLst/>
            </a:prstGeom>
            <a:ln w="38100"/>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14139887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utoShape 6">
            <a:extLst>
              <a:ext uri="{FF2B5EF4-FFF2-40B4-BE49-F238E27FC236}">
                <a16:creationId xmlns:a16="http://schemas.microsoft.com/office/drawing/2014/main" id="{64229659-51BA-C077-5911-C68B2EEDA44A}"/>
              </a:ext>
            </a:extLst>
          </p:cNvPr>
          <p:cNvSpPr>
            <a:spLocks noChangeArrowheads="1"/>
          </p:cNvSpPr>
          <p:nvPr/>
        </p:nvSpPr>
        <p:spPr bwMode="auto">
          <a:xfrm>
            <a:off x="7062415" y="4296956"/>
            <a:ext cx="204382" cy="265271"/>
          </a:xfrm>
          <a:prstGeom prst="flowChartAlternateProcess">
            <a:avLst/>
          </a:prstGeom>
          <a:noFill/>
          <a:ln w="9525" algn="ctr">
            <a:noFill/>
            <a:miter lim="800000"/>
            <a:headEnd/>
            <a:tailEnd/>
          </a:ln>
        </p:spPr>
        <p:txBody>
          <a:bodyPr wrap="none"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1000" b="1" i="0" u="none" strike="noStrike" kern="1200" cap="none" spc="0" normalizeH="0" baseline="0" noProof="0">
              <a:ln>
                <a:noFill/>
              </a:ln>
              <a:solidFill>
                <a:prstClr val="black"/>
              </a:solidFill>
              <a:effectLst/>
              <a:uLnTx/>
              <a:uFillTx/>
              <a:latin typeface="Ubuntu"/>
              <a:ea typeface="ＭＳ Ｐゴシック" pitchFamily="34" charset="-128"/>
              <a:cs typeface="Arial" charset="0"/>
            </a:endParaRPr>
          </a:p>
        </p:txBody>
      </p:sp>
      <p:cxnSp>
        <p:nvCxnSpPr>
          <p:cNvPr id="31" name="Straight Connector 30">
            <a:extLst>
              <a:ext uri="{FF2B5EF4-FFF2-40B4-BE49-F238E27FC236}">
                <a16:creationId xmlns:a16="http://schemas.microsoft.com/office/drawing/2014/main" id="{1AF28D2E-9A89-759D-8ADE-4DDD2A603FBA}"/>
              </a:ext>
            </a:extLst>
          </p:cNvPr>
          <p:cNvCxnSpPr>
            <a:cxnSpLocks/>
          </p:cNvCxnSpPr>
          <p:nvPr/>
        </p:nvCxnSpPr>
        <p:spPr>
          <a:xfrm>
            <a:off x="6190300" y="1465428"/>
            <a:ext cx="0" cy="4121556"/>
          </a:xfrm>
          <a:prstGeom prst="line">
            <a:avLst/>
          </a:prstGeom>
          <a:noFill/>
          <a:ln w="12700" cap="flat" cmpd="sng" algn="ctr">
            <a:solidFill>
              <a:srgbClr val="12ABDB"/>
            </a:solidFill>
            <a:prstDash val="dash"/>
            <a:miter lim="800000"/>
          </a:ln>
          <a:effectLst/>
        </p:spPr>
      </p:cxnSp>
      <p:sp>
        <p:nvSpPr>
          <p:cNvPr id="37" name="Title 1">
            <a:extLst>
              <a:ext uri="{FF2B5EF4-FFF2-40B4-BE49-F238E27FC236}">
                <a16:creationId xmlns:a16="http://schemas.microsoft.com/office/drawing/2014/main" id="{84F1E551-6E86-4DE1-5EC7-E62C36D858E6}"/>
              </a:ext>
            </a:extLst>
          </p:cNvPr>
          <p:cNvSpPr txBox="1">
            <a:spLocks/>
          </p:cNvSpPr>
          <p:nvPr/>
        </p:nvSpPr>
        <p:spPr>
          <a:xfrm>
            <a:off x="364936" y="250829"/>
            <a:ext cx="11009685" cy="387798"/>
          </a:xfrm>
          <a:prstGeom prst="rect">
            <a:avLst/>
          </a:prstGeom>
        </p:spPr>
        <p:txBody>
          <a:bodyPr vert="horz" lIns="0" tIns="0" rIns="0" bIns="0" rtlCol="0" anchor="ctr"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1" i="0" u="none" strike="noStrike" kern="1200" cap="none" spc="0" normalizeH="0" baseline="0" noProof="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2800" b="1" i="0" u="none" strike="noStrike" kern="1200" cap="all" spc="0" normalizeH="0" baseline="0" noProof="0" dirty="0">
                <a:ln>
                  <a:noFill/>
                </a:ln>
                <a:solidFill>
                  <a:srgbClr val="0070AD"/>
                </a:solidFill>
                <a:effectLst/>
                <a:uLnTx/>
                <a:uFillTx/>
                <a:latin typeface="Ubuntu"/>
                <a:ea typeface="+mj-ea"/>
                <a:cs typeface="+mj-cs"/>
              </a:rPr>
              <a:t>Tool strategy  		</a:t>
            </a:r>
          </a:p>
        </p:txBody>
      </p:sp>
      <p:sp>
        <p:nvSpPr>
          <p:cNvPr id="38" name="TextBox 37">
            <a:extLst>
              <a:ext uri="{FF2B5EF4-FFF2-40B4-BE49-F238E27FC236}">
                <a16:creationId xmlns:a16="http://schemas.microsoft.com/office/drawing/2014/main" id="{5E8A2D1A-89CF-C724-8F6D-C776DA471E6F}"/>
              </a:ext>
            </a:extLst>
          </p:cNvPr>
          <p:cNvSpPr txBox="1"/>
          <p:nvPr/>
        </p:nvSpPr>
        <p:spPr>
          <a:xfrm>
            <a:off x="364937" y="1086350"/>
            <a:ext cx="5615240" cy="369332"/>
          </a:xfrm>
          <a:prstGeom prst="rect">
            <a:avLst/>
          </a:prstGeom>
          <a:noFill/>
        </p:spPr>
        <p:txBody>
          <a:bodyPr wrap="square">
            <a:spAutoFit/>
          </a:bodyPr>
          <a:lstStyle/>
          <a:p>
            <a:pPr algn="ctr">
              <a:defRPr/>
            </a:pPr>
            <a:r>
              <a:rPr kumimoji="0" lang="en-CA" sz="1800" b="1" i="0" u="none" strike="noStrike" kern="1200" cap="none" spc="0" normalizeH="0" baseline="0" noProof="0" dirty="0">
                <a:ln>
                  <a:noFill/>
                </a:ln>
                <a:solidFill>
                  <a:prstClr val="black"/>
                </a:solidFill>
                <a:effectLst/>
                <a:uLnTx/>
                <a:uFillTx/>
                <a:latin typeface="Ubuntu"/>
                <a:ea typeface="ＭＳ Ｐゴシック" pitchFamily="34" charset="-128"/>
                <a:cs typeface="Arial" charset="0"/>
              </a:rPr>
              <a:t>Capgemini Owning</a:t>
            </a:r>
          </a:p>
        </p:txBody>
      </p:sp>
      <p:sp>
        <p:nvSpPr>
          <p:cNvPr id="39" name="TextBox 38">
            <a:extLst>
              <a:ext uri="{FF2B5EF4-FFF2-40B4-BE49-F238E27FC236}">
                <a16:creationId xmlns:a16="http://schemas.microsoft.com/office/drawing/2014/main" id="{481B12B5-AB18-EB62-6318-7E60A255F246}"/>
              </a:ext>
            </a:extLst>
          </p:cNvPr>
          <p:cNvSpPr txBox="1"/>
          <p:nvPr/>
        </p:nvSpPr>
        <p:spPr>
          <a:xfrm>
            <a:off x="6041137" y="1087350"/>
            <a:ext cx="5615240" cy="369332"/>
          </a:xfrm>
          <a:prstGeom prst="rect">
            <a:avLst/>
          </a:prstGeom>
          <a:noFill/>
        </p:spPr>
        <p:txBody>
          <a:bodyPr wrap="square">
            <a:spAutoFit/>
          </a:bodyPr>
          <a:lstStyle/>
          <a:p>
            <a:pPr algn="ctr">
              <a:defRPr/>
            </a:pPr>
            <a:r>
              <a:rPr kumimoji="0" lang="en-CA" sz="1800" b="1" i="0" u="none" strike="noStrike" kern="1200" cap="none" spc="0" normalizeH="0" baseline="0" noProof="0" dirty="0">
                <a:ln>
                  <a:noFill/>
                </a:ln>
                <a:solidFill>
                  <a:prstClr val="black"/>
                </a:solidFill>
                <a:effectLst/>
                <a:uLnTx/>
                <a:uFillTx/>
                <a:latin typeface="Ubuntu"/>
                <a:ea typeface="ＭＳ Ｐゴシック" pitchFamily="34" charset="-128"/>
                <a:cs typeface="Arial" charset="0"/>
              </a:rPr>
              <a:t>GE Vernova Owning</a:t>
            </a:r>
          </a:p>
        </p:txBody>
      </p:sp>
      <p:sp>
        <p:nvSpPr>
          <p:cNvPr id="42" name="Rectangle: Rounded Corners 41">
            <a:extLst>
              <a:ext uri="{FF2B5EF4-FFF2-40B4-BE49-F238E27FC236}">
                <a16:creationId xmlns:a16="http://schemas.microsoft.com/office/drawing/2014/main" id="{A0B697A7-5744-FE8A-11B7-463A69A04D96}"/>
              </a:ext>
            </a:extLst>
          </p:cNvPr>
          <p:cNvSpPr/>
          <p:nvPr/>
        </p:nvSpPr>
        <p:spPr>
          <a:xfrm>
            <a:off x="1691640" y="1519098"/>
            <a:ext cx="3968496" cy="3819804"/>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45" name="Text Box 194">
            <a:extLst>
              <a:ext uri="{FF2B5EF4-FFF2-40B4-BE49-F238E27FC236}">
                <a16:creationId xmlns:a16="http://schemas.microsoft.com/office/drawing/2014/main" id="{8836A820-78E6-F960-A158-E93B3946C0F5}"/>
              </a:ext>
            </a:extLst>
          </p:cNvPr>
          <p:cNvSpPr txBox="1">
            <a:spLocks noChangeArrowheads="1"/>
          </p:cNvSpPr>
          <p:nvPr/>
        </p:nvSpPr>
        <p:spPr bwMode="auto">
          <a:xfrm>
            <a:off x="1880617" y="1764790"/>
            <a:ext cx="3590542" cy="2880362"/>
          </a:xfrm>
          <a:prstGeom prst="rect">
            <a:avLst/>
          </a:prstGeom>
          <a:noFill/>
          <a:ln w="9525" algn="ctr">
            <a:noFill/>
            <a:miter lim="800000"/>
            <a:headEnd/>
            <a:tailEnd/>
          </a:ln>
        </p:spPr>
        <p:txBody>
          <a:bodyPr/>
          <a:lstStyle>
            <a:defPPr>
              <a:defRPr lang="en-US"/>
            </a:defPPr>
            <a:lvl1pPr marL="114300" indent="-114300" fontAlgn="base">
              <a:spcBef>
                <a:spcPct val="30000"/>
              </a:spcBef>
              <a:spcAft>
                <a:spcPct val="0"/>
              </a:spcAft>
              <a:buClr>
                <a:srgbClr val="1EA3D2"/>
              </a:buClr>
              <a:buFont typeface="Wingdings" pitchFamily="2" charset="2"/>
              <a:buChar char="§"/>
              <a:defRPr sz="1000">
                <a:solidFill>
                  <a:prstClr val="black"/>
                </a:solidFill>
                <a:latin typeface="Candara" panose="020E0502030303020204" pitchFamily="34" charset="0"/>
                <a:ea typeface="ＭＳ Ｐゴシック" pitchFamily="34" charset="-128"/>
                <a:cs typeface="Times New Roman" pitchFamily="18" charset="0"/>
              </a:defRPr>
            </a:lvl1pPr>
          </a:lstStyle>
          <a:p>
            <a:pPr marR="0" lvl="0" algn="l" defTabSz="914400" rtl="0" eaLnBrk="1" fontAlgn="base" latinLnBrk="0" hangingPunct="1">
              <a:lnSpc>
                <a:spcPct val="100000"/>
              </a:lnSpc>
              <a:spcBef>
                <a:spcPts val="200"/>
              </a:spcBef>
              <a:spcAft>
                <a:spcPts val="600"/>
              </a:spcAft>
              <a:buClr>
                <a:schemeClr val="tx1"/>
              </a:buClr>
              <a:buSzTx/>
              <a:buFont typeface="Arial" panose="020B0604020202020204" pitchFamily="34" charset="0"/>
              <a:buChar char="•"/>
              <a:tabLst/>
              <a:defRPr/>
            </a:pPr>
            <a:r>
              <a:rPr lang="en-US" sz="1200" kern="0" dirty="0">
                <a:solidFill>
                  <a:schemeClr val="tx1"/>
                </a:solidFill>
                <a:latin typeface="Ubuntu"/>
                <a:cs typeface="Arial" panose="020B0604020202020204" pitchFamily="34" charset="0"/>
              </a:rPr>
              <a:t>Purchase </a:t>
            </a:r>
            <a:r>
              <a:rPr lang="en-US" sz="1200" kern="0" dirty="0" err="1">
                <a:solidFill>
                  <a:schemeClr val="tx1"/>
                </a:solidFill>
                <a:latin typeface="Ubuntu"/>
                <a:cs typeface="Arial" panose="020B0604020202020204" pitchFamily="34" charset="0"/>
              </a:rPr>
              <a:t>WorkSoft</a:t>
            </a:r>
            <a:r>
              <a:rPr lang="en-US" sz="1200" kern="0" dirty="0">
                <a:solidFill>
                  <a:schemeClr val="tx1"/>
                </a:solidFill>
                <a:latin typeface="Ubuntu"/>
                <a:cs typeface="Arial" panose="020B0604020202020204" pitchFamily="34" charset="0"/>
              </a:rPr>
              <a:t> &amp; UFT tools license.</a:t>
            </a:r>
          </a:p>
          <a:p>
            <a:pPr marR="0" lvl="0" algn="l" defTabSz="914400" rtl="0" eaLnBrk="1" fontAlgn="base" latinLnBrk="0" hangingPunct="1">
              <a:lnSpc>
                <a:spcPct val="100000"/>
              </a:lnSpc>
              <a:spcBef>
                <a:spcPts val="200"/>
              </a:spcBef>
              <a:spcAft>
                <a:spcPts val="600"/>
              </a:spcAft>
              <a:buClr>
                <a:schemeClr val="tx1"/>
              </a:buClr>
              <a:buSzTx/>
              <a:buFont typeface="Arial" panose="020B0604020202020204" pitchFamily="34" charset="0"/>
              <a:buChar char="•"/>
              <a:tabLst/>
              <a:defRPr/>
            </a:pPr>
            <a:r>
              <a:rPr lang="en-US" sz="1200" kern="0" dirty="0">
                <a:solidFill>
                  <a:schemeClr val="tx1"/>
                </a:solidFill>
                <a:latin typeface="Ubuntu"/>
                <a:cs typeface="Arial" panose="020B0604020202020204" pitchFamily="34" charset="0"/>
              </a:rPr>
              <a:t>Migration of Automation scripts to Capgemini  servers.</a:t>
            </a:r>
          </a:p>
          <a:p>
            <a:pPr marR="0" lvl="0" algn="l" defTabSz="914400" rtl="0" eaLnBrk="1" fontAlgn="base" latinLnBrk="0" hangingPunct="1">
              <a:lnSpc>
                <a:spcPct val="100000"/>
              </a:lnSpc>
              <a:spcBef>
                <a:spcPts val="200"/>
              </a:spcBef>
              <a:spcAft>
                <a:spcPts val="600"/>
              </a:spcAft>
              <a:buClr>
                <a:schemeClr val="tx1"/>
              </a:buClr>
              <a:buSzTx/>
              <a:buFont typeface="Arial" panose="020B0604020202020204" pitchFamily="34" charset="0"/>
              <a:buChar char="•"/>
              <a:tabLst/>
              <a:defRPr/>
            </a:pPr>
            <a:r>
              <a:rPr lang="en-US" sz="1200" kern="0" dirty="0">
                <a:solidFill>
                  <a:schemeClr val="tx1"/>
                </a:solidFill>
                <a:latin typeface="Ubuntu"/>
                <a:cs typeface="Arial" panose="020B0604020202020204" pitchFamily="34" charset="0"/>
              </a:rPr>
              <a:t>Environment setup </a:t>
            </a:r>
            <a:r>
              <a:rPr lang="en-US" sz="1200" kern="0" dirty="0" err="1">
                <a:solidFill>
                  <a:schemeClr val="tx1"/>
                </a:solidFill>
                <a:latin typeface="Ubuntu"/>
                <a:cs typeface="Arial" panose="020B0604020202020204" pitchFamily="34" charset="0"/>
              </a:rPr>
              <a:t>readyness</a:t>
            </a:r>
            <a:r>
              <a:rPr lang="en-US" sz="1200" kern="0" dirty="0">
                <a:solidFill>
                  <a:schemeClr val="tx1"/>
                </a:solidFill>
                <a:latin typeface="Ubuntu"/>
                <a:cs typeface="Arial" panose="020B0604020202020204" pitchFamily="34" charset="0"/>
              </a:rPr>
              <a:t> for Automation</a:t>
            </a:r>
          </a:p>
          <a:p>
            <a:pPr marR="0" lvl="0" algn="l" defTabSz="914400" rtl="0" eaLnBrk="1" fontAlgn="base" latinLnBrk="0" hangingPunct="1">
              <a:lnSpc>
                <a:spcPct val="100000"/>
              </a:lnSpc>
              <a:spcBef>
                <a:spcPts val="200"/>
              </a:spcBef>
              <a:spcAft>
                <a:spcPts val="600"/>
              </a:spcAft>
              <a:buClr>
                <a:schemeClr val="tx1"/>
              </a:buClr>
              <a:buSzTx/>
              <a:buFont typeface="Arial" panose="020B0604020202020204" pitchFamily="34" charset="0"/>
              <a:buChar char="•"/>
              <a:tabLst/>
              <a:defRPr/>
            </a:pPr>
            <a:r>
              <a:rPr lang="en-US" sz="1200" kern="0" dirty="0">
                <a:solidFill>
                  <a:schemeClr val="tx1"/>
                </a:solidFill>
                <a:latin typeface="Ubuntu"/>
                <a:cs typeface="Arial" panose="020B0604020202020204" pitchFamily="34" charset="0"/>
              </a:rPr>
              <a:t>Testing timelines might delay due to Readiness of Automation setup As Migration is a time taking process</a:t>
            </a:r>
          </a:p>
          <a:p>
            <a:pPr marR="0" lvl="0" algn="l" defTabSz="914400" rtl="0" eaLnBrk="1" fontAlgn="base" latinLnBrk="0" hangingPunct="1">
              <a:lnSpc>
                <a:spcPct val="100000"/>
              </a:lnSpc>
              <a:spcBef>
                <a:spcPts val="200"/>
              </a:spcBef>
              <a:spcAft>
                <a:spcPts val="600"/>
              </a:spcAft>
              <a:buClr>
                <a:schemeClr val="tx1"/>
              </a:buClr>
              <a:buSzTx/>
              <a:buFont typeface="Arial" panose="020B0604020202020204" pitchFamily="34" charset="0"/>
              <a:buChar char="•"/>
              <a:tabLst/>
              <a:defRPr/>
            </a:pPr>
            <a:r>
              <a:rPr lang="en-US" sz="1200" kern="0" dirty="0">
                <a:solidFill>
                  <a:schemeClr val="tx1"/>
                </a:solidFill>
                <a:latin typeface="Ubuntu"/>
                <a:cs typeface="Arial" panose="020B0604020202020204" pitchFamily="34" charset="0"/>
              </a:rPr>
              <a:t>Decommission of  </a:t>
            </a:r>
            <a:r>
              <a:rPr lang="en-US" sz="1200" kern="0" dirty="0" err="1">
                <a:solidFill>
                  <a:schemeClr val="tx1"/>
                </a:solidFill>
                <a:latin typeface="Ubuntu"/>
                <a:cs typeface="Arial" panose="020B0604020202020204" pitchFamily="34" charset="0"/>
              </a:rPr>
              <a:t>TCoE</a:t>
            </a:r>
            <a:r>
              <a:rPr lang="en-US" sz="1200" kern="0" dirty="0">
                <a:solidFill>
                  <a:schemeClr val="tx1"/>
                </a:solidFill>
                <a:latin typeface="Ubuntu"/>
                <a:cs typeface="Arial" panose="020B0604020202020204" pitchFamily="34" charset="0"/>
              </a:rPr>
              <a:t> AWS Servers &amp; </a:t>
            </a:r>
            <a:r>
              <a:rPr lang="en-US" sz="1200" kern="0" dirty="0" err="1">
                <a:solidFill>
                  <a:schemeClr val="tx1"/>
                </a:solidFill>
                <a:latin typeface="Ubuntu"/>
                <a:cs typeface="Arial" panose="020B0604020202020204" pitchFamily="34" charset="0"/>
              </a:rPr>
              <a:t>VMs</a:t>
            </a:r>
            <a:r>
              <a:rPr lang="en-US" sz="1200" kern="0" dirty="0">
                <a:solidFill>
                  <a:schemeClr val="tx1"/>
                </a:solidFill>
                <a:latin typeface="Ubuntu"/>
                <a:cs typeface="Arial" panose="020B0604020202020204" pitchFamily="34" charset="0"/>
              </a:rPr>
              <a:t>.</a:t>
            </a:r>
          </a:p>
          <a:p>
            <a:pPr marR="0" lvl="0" algn="l" defTabSz="914400" rtl="0" eaLnBrk="1" fontAlgn="base" latinLnBrk="0" hangingPunct="1">
              <a:lnSpc>
                <a:spcPct val="100000"/>
              </a:lnSpc>
              <a:spcBef>
                <a:spcPts val="200"/>
              </a:spcBef>
              <a:spcAft>
                <a:spcPts val="600"/>
              </a:spcAft>
              <a:buClr>
                <a:schemeClr val="tx1"/>
              </a:buClr>
              <a:buSzTx/>
              <a:buFont typeface="Arial" panose="020B0604020202020204" pitchFamily="34" charset="0"/>
              <a:buChar char="•"/>
              <a:tabLst/>
              <a:defRPr/>
            </a:pPr>
            <a:r>
              <a:rPr lang="en-US" sz="1200" kern="0" dirty="0">
                <a:solidFill>
                  <a:schemeClr val="tx1"/>
                </a:solidFill>
                <a:latin typeface="Ubuntu"/>
                <a:cs typeface="Arial" panose="020B0604020202020204" pitchFamily="34" charset="0"/>
              </a:rPr>
              <a:t>Integration with existing systems may require additional effort and customization.</a:t>
            </a:r>
          </a:p>
          <a:p>
            <a:pPr marR="0" lvl="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endParaRPr lang="en-US" sz="1200" kern="0" dirty="0">
              <a:latin typeface="Ubuntu"/>
              <a:cs typeface="Arial" panose="020B0604020202020204" pitchFamily="34" charset="0"/>
            </a:endParaRPr>
          </a:p>
        </p:txBody>
      </p:sp>
      <p:sp>
        <p:nvSpPr>
          <p:cNvPr id="46" name="Rectangle: Rounded Corners 45">
            <a:extLst>
              <a:ext uri="{FF2B5EF4-FFF2-40B4-BE49-F238E27FC236}">
                <a16:creationId xmlns:a16="http://schemas.microsoft.com/office/drawing/2014/main" id="{D57EBB2E-3B9F-044E-4AFE-B429EF938D72}"/>
              </a:ext>
            </a:extLst>
          </p:cNvPr>
          <p:cNvSpPr/>
          <p:nvPr/>
        </p:nvSpPr>
        <p:spPr>
          <a:xfrm>
            <a:off x="6772656" y="1543482"/>
            <a:ext cx="3968496" cy="3819804"/>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47" name="Text Box 194">
            <a:extLst>
              <a:ext uri="{FF2B5EF4-FFF2-40B4-BE49-F238E27FC236}">
                <a16:creationId xmlns:a16="http://schemas.microsoft.com/office/drawing/2014/main" id="{D299429D-F277-AA56-E816-4B2FE76BCA34}"/>
              </a:ext>
            </a:extLst>
          </p:cNvPr>
          <p:cNvSpPr txBox="1">
            <a:spLocks noChangeArrowheads="1"/>
          </p:cNvSpPr>
          <p:nvPr/>
        </p:nvSpPr>
        <p:spPr bwMode="auto">
          <a:xfrm>
            <a:off x="6961633" y="1789174"/>
            <a:ext cx="3590542" cy="2880362"/>
          </a:xfrm>
          <a:prstGeom prst="rect">
            <a:avLst/>
          </a:prstGeom>
          <a:noFill/>
          <a:ln w="9525" algn="ctr">
            <a:noFill/>
            <a:miter lim="800000"/>
            <a:headEnd/>
            <a:tailEnd/>
          </a:ln>
        </p:spPr>
        <p:txBody>
          <a:bodyPr/>
          <a:lstStyle>
            <a:defPPr>
              <a:defRPr lang="en-US"/>
            </a:defPPr>
            <a:lvl1pPr marL="114300" indent="-114300" fontAlgn="base">
              <a:spcBef>
                <a:spcPct val="30000"/>
              </a:spcBef>
              <a:spcAft>
                <a:spcPct val="0"/>
              </a:spcAft>
              <a:buClr>
                <a:srgbClr val="1EA3D2"/>
              </a:buClr>
              <a:buFont typeface="Wingdings" pitchFamily="2" charset="2"/>
              <a:buChar char="§"/>
              <a:defRPr sz="1000">
                <a:solidFill>
                  <a:prstClr val="black"/>
                </a:solidFill>
                <a:latin typeface="Candara" panose="020E0502030303020204" pitchFamily="34" charset="0"/>
                <a:ea typeface="ＭＳ Ｐゴシック" pitchFamily="34" charset="-128"/>
                <a:cs typeface="Times New Roman" pitchFamily="18" charset="0"/>
              </a:defRPr>
            </a:lvl1pPr>
          </a:lstStyle>
          <a:p>
            <a:pPr>
              <a:spcBef>
                <a:spcPts val="200"/>
              </a:spcBef>
              <a:spcAft>
                <a:spcPts val="600"/>
              </a:spcAft>
              <a:buClr>
                <a:schemeClr val="tx1"/>
              </a:buClr>
              <a:buFont typeface="Arial" panose="020B0604020202020204" pitchFamily="34" charset="0"/>
              <a:buChar char="•"/>
              <a:defRPr/>
            </a:pPr>
            <a:r>
              <a:rPr lang="en-US" sz="1200" kern="0" dirty="0">
                <a:solidFill>
                  <a:schemeClr val="tx1"/>
                </a:solidFill>
                <a:latin typeface="Ubuntu"/>
                <a:cs typeface="Arial" panose="020B0604020202020204" pitchFamily="34" charset="0"/>
              </a:rPr>
              <a:t>Existing license can be used.</a:t>
            </a:r>
          </a:p>
          <a:p>
            <a:pPr>
              <a:spcBef>
                <a:spcPts val="200"/>
              </a:spcBef>
              <a:spcAft>
                <a:spcPts val="600"/>
              </a:spcAft>
              <a:buClr>
                <a:schemeClr val="tx1"/>
              </a:buClr>
              <a:buFont typeface="Arial" panose="020B0604020202020204" pitchFamily="34" charset="0"/>
              <a:buChar char="•"/>
              <a:defRPr/>
            </a:pPr>
            <a:r>
              <a:rPr lang="en-US" sz="1200" kern="0" dirty="0">
                <a:solidFill>
                  <a:schemeClr val="tx1"/>
                </a:solidFill>
                <a:latin typeface="Ubuntu"/>
                <a:cs typeface="Arial" panose="020B0604020202020204" pitchFamily="34" charset="0"/>
              </a:rPr>
              <a:t>Scripts can be used </a:t>
            </a:r>
            <a:r>
              <a:rPr lang="en-US" sz="1200" kern="0" dirty="0" err="1">
                <a:solidFill>
                  <a:schemeClr val="tx1"/>
                </a:solidFill>
                <a:latin typeface="Ubuntu"/>
                <a:cs typeface="Arial" panose="020B0604020202020204" pitchFamily="34" charset="0"/>
              </a:rPr>
              <a:t>dirrectly</a:t>
            </a:r>
            <a:r>
              <a:rPr lang="en-US" sz="1200" kern="0" dirty="0">
                <a:solidFill>
                  <a:schemeClr val="tx1"/>
                </a:solidFill>
                <a:latin typeface="Ubuntu"/>
                <a:cs typeface="Arial" panose="020B0604020202020204" pitchFamily="34" charset="0"/>
              </a:rPr>
              <a:t> </a:t>
            </a:r>
          </a:p>
          <a:p>
            <a:pPr>
              <a:spcBef>
                <a:spcPts val="200"/>
              </a:spcBef>
              <a:spcAft>
                <a:spcPts val="600"/>
              </a:spcAft>
              <a:buClr>
                <a:schemeClr val="tx1"/>
              </a:buClr>
              <a:buFont typeface="Arial" panose="020B0604020202020204" pitchFamily="34" charset="0"/>
              <a:buChar char="•"/>
              <a:defRPr/>
            </a:pPr>
            <a:r>
              <a:rPr lang="en-US" sz="1200" kern="0" dirty="0">
                <a:solidFill>
                  <a:schemeClr val="tx1"/>
                </a:solidFill>
                <a:latin typeface="Ubuntu"/>
                <a:cs typeface="Arial" panose="020B0604020202020204" pitchFamily="34" charset="0"/>
              </a:rPr>
              <a:t>Required in-house expertise for maintenance  of automation tools and environment setup</a:t>
            </a:r>
          </a:p>
          <a:p>
            <a:pPr>
              <a:spcBef>
                <a:spcPts val="200"/>
              </a:spcBef>
              <a:spcAft>
                <a:spcPts val="600"/>
              </a:spcAft>
              <a:buClr>
                <a:schemeClr val="tx1"/>
              </a:buClr>
              <a:buFont typeface="Arial" panose="020B0604020202020204" pitchFamily="34" charset="0"/>
              <a:buChar char="•"/>
              <a:defRPr/>
            </a:pPr>
            <a:r>
              <a:rPr lang="en-US" sz="1200" kern="0" dirty="0">
                <a:solidFill>
                  <a:schemeClr val="tx1"/>
                </a:solidFill>
                <a:latin typeface="Ubuntu"/>
                <a:cs typeface="Arial" panose="020B0604020202020204" pitchFamily="34" charset="0"/>
              </a:rPr>
              <a:t>Building and maintaining an automation infrastructure requires skilled personnel, time, and ongoing investment.</a:t>
            </a:r>
          </a:p>
          <a:p>
            <a:pPr>
              <a:spcBef>
                <a:spcPts val="200"/>
              </a:spcBef>
              <a:spcAft>
                <a:spcPts val="600"/>
              </a:spcAft>
              <a:buClr>
                <a:schemeClr val="tx1"/>
              </a:buClr>
              <a:buFont typeface="Arial" panose="020B0604020202020204" pitchFamily="34" charset="0"/>
              <a:buChar char="•"/>
              <a:defRPr/>
            </a:pPr>
            <a:r>
              <a:rPr lang="en-US" sz="1200" kern="0" dirty="0">
                <a:solidFill>
                  <a:schemeClr val="tx1"/>
                </a:solidFill>
                <a:latin typeface="Ubuntu"/>
                <a:cs typeface="Arial" panose="020B0604020202020204" pitchFamily="34" charset="0"/>
              </a:rPr>
              <a:t>Existing license and Setup can be used.</a:t>
            </a:r>
          </a:p>
          <a:p>
            <a:pPr marR="0" lvl="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endParaRPr lang="en-US" sz="1200" kern="0" dirty="0">
              <a:latin typeface="Ubuntu"/>
              <a:cs typeface="Arial" panose="020B0604020202020204" pitchFamily="34" charset="0"/>
            </a:endParaRPr>
          </a:p>
        </p:txBody>
      </p:sp>
    </p:spTree>
    <p:extLst>
      <p:ext uri="{BB962C8B-B14F-4D97-AF65-F5344CB8AC3E}">
        <p14:creationId xmlns:p14="http://schemas.microsoft.com/office/powerpoint/2010/main" val="19315649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205">
            <a:extLst>
              <a:ext uri="{FF2B5EF4-FFF2-40B4-BE49-F238E27FC236}">
                <a16:creationId xmlns:a16="http://schemas.microsoft.com/office/drawing/2014/main" id="{AC1A1AFD-F556-ED65-C7AA-E700D54DC6B6}"/>
              </a:ext>
            </a:extLst>
          </p:cNvPr>
          <p:cNvSpPr txBox="1">
            <a:spLocks noChangeArrowheads="1"/>
          </p:cNvSpPr>
          <p:nvPr/>
        </p:nvSpPr>
        <p:spPr bwMode="auto">
          <a:xfrm>
            <a:off x="939194" y="1465428"/>
            <a:ext cx="2194560" cy="246221"/>
          </a:xfrm>
          <a:prstGeom prst="rect">
            <a:avLst/>
          </a:prstGeom>
          <a:noFill/>
          <a:ln w="12700" algn="ctr">
            <a:noFill/>
            <a:miter lim="800000"/>
            <a:headEnd/>
            <a:tailEnd/>
          </a:ln>
        </p:spPr>
        <p:txBody>
          <a:bodyP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CA" sz="1000" b="1" i="0" u="none" strike="noStrike" kern="1200" cap="none" spc="0" normalizeH="0" baseline="0" noProof="0">
              <a:ln>
                <a:noFill/>
              </a:ln>
              <a:solidFill>
                <a:prstClr val="black"/>
              </a:solidFill>
              <a:effectLst/>
              <a:uLnTx/>
              <a:uFillTx/>
              <a:latin typeface="Ubuntu"/>
              <a:ea typeface="ＭＳ Ｐゴシック" pitchFamily="34" charset="-128"/>
              <a:cs typeface="Arial" charset="0"/>
            </a:endParaRPr>
          </a:p>
        </p:txBody>
      </p:sp>
      <p:sp>
        <p:nvSpPr>
          <p:cNvPr id="4" name="AutoShape 220">
            <a:extLst>
              <a:ext uri="{FF2B5EF4-FFF2-40B4-BE49-F238E27FC236}">
                <a16:creationId xmlns:a16="http://schemas.microsoft.com/office/drawing/2014/main" id="{9B8DC436-2125-3671-13FE-828B01B13B49}"/>
              </a:ext>
            </a:extLst>
          </p:cNvPr>
          <p:cNvSpPr>
            <a:spLocks noChangeArrowheads="1"/>
          </p:cNvSpPr>
          <p:nvPr/>
        </p:nvSpPr>
        <p:spPr bwMode="auto">
          <a:xfrm>
            <a:off x="9462017" y="825393"/>
            <a:ext cx="2560320" cy="692727"/>
          </a:xfrm>
          <a:prstGeom prst="chevron">
            <a:avLst>
              <a:gd name="adj" fmla="val 56818"/>
            </a:avLst>
          </a:prstGeom>
          <a:solidFill>
            <a:srgbClr val="000000"/>
          </a:solidFill>
          <a:ln w="3175">
            <a:noFill/>
            <a:miter lim="800000"/>
            <a:headEnd/>
            <a:tailEnd/>
          </a:ln>
          <a:effectLst/>
        </p:spPr>
        <p:txBody>
          <a:bodyPr wrap="square" lIns="0" r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Ubuntu"/>
                <a:ea typeface="+mn-ea"/>
                <a:cs typeface="+mn-cs"/>
              </a:rPr>
              <a:t>Handover and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Ubuntu"/>
                <a:ea typeface="+mn-ea"/>
                <a:cs typeface="+mn-cs"/>
              </a:rPr>
              <a:t>Continuous Improvement</a:t>
            </a:r>
          </a:p>
        </p:txBody>
      </p:sp>
      <p:sp>
        <p:nvSpPr>
          <p:cNvPr id="5" name="AutoShape 220">
            <a:extLst>
              <a:ext uri="{FF2B5EF4-FFF2-40B4-BE49-F238E27FC236}">
                <a16:creationId xmlns:a16="http://schemas.microsoft.com/office/drawing/2014/main" id="{25ED9804-0DA3-8E1C-6C57-DCA468B70F19}"/>
              </a:ext>
            </a:extLst>
          </p:cNvPr>
          <p:cNvSpPr>
            <a:spLocks noChangeArrowheads="1"/>
          </p:cNvSpPr>
          <p:nvPr/>
        </p:nvSpPr>
        <p:spPr bwMode="auto">
          <a:xfrm>
            <a:off x="7165045" y="825393"/>
            <a:ext cx="2560320" cy="692727"/>
          </a:xfrm>
          <a:prstGeom prst="chevron">
            <a:avLst>
              <a:gd name="adj" fmla="val 56818"/>
            </a:avLst>
          </a:prstGeom>
          <a:solidFill>
            <a:srgbClr val="000000"/>
          </a:solidFill>
          <a:ln w="3175">
            <a:noFill/>
            <a:miter lim="800000"/>
            <a:headEnd/>
            <a:tailEnd/>
          </a:ln>
          <a:effectLst/>
        </p:spPr>
        <p:txBody>
          <a:bodyPr wrap="square" lIns="0" r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Ubuntu"/>
                <a:ea typeface="+mn-ea"/>
                <a:cs typeface="+mn-cs"/>
              </a:rPr>
              <a:t>Execution </a:t>
            </a:r>
          </a:p>
        </p:txBody>
      </p:sp>
      <p:sp>
        <p:nvSpPr>
          <p:cNvPr id="6" name="AutoShape 220">
            <a:extLst>
              <a:ext uri="{FF2B5EF4-FFF2-40B4-BE49-F238E27FC236}">
                <a16:creationId xmlns:a16="http://schemas.microsoft.com/office/drawing/2014/main" id="{93A6927F-7F83-D230-D775-80C2C82233DA}"/>
              </a:ext>
            </a:extLst>
          </p:cNvPr>
          <p:cNvSpPr>
            <a:spLocks noChangeArrowheads="1"/>
          </p:cNvSpPr>
          <p:nvPr/>
        </p:nvSpPr>
        <p:spPr bwMode="auto">
          <a:xfrm>
            <a:off x="4868074" y="825393"/>
            <a:ext cx="2560320" cy="692727"/>
          </a:xfrm>
          <a:prstGeom prst="chevron">
            <a:avLst>
              <a:gd name="adj" fmla="val 56818"/>
            </a:avLst>
          </a:prstGeom>
          <a:solidFill>
            <a:srgbClr val="000000"/>
          </a:solidFill>
          <a:ln w="3175">
            <a:noFill/>
            <a:miter lim="800000"/>
            <a:headEnd/>
            <a:tailEnd/>
          </a:ln>
          <a:effectLst/>
        </p:spPr>
        <p:txBody>
          <a:bodyPr wrap="square" lIns="0" r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Ubuntu"/>
                <a:ea typeface="+mn-ea"/>
                <a:cs typeface="+mn-cs"/>
              </a:rPr>
              <a:t>Plan</a:t>
            </a:r>
          </a:p>
        </p:txBody>
      </p:sp>
      <p:sp>
        <p:nvSpPr>
          <p:cNvPr id="7" name="AutoShape 220">
            <a:extLst>
              <a:ext uri="{FF2B5EF4-FFF2-40B4-BE49-F238E27FC236}">
                <a16:creationId xmlns:a16="http://schemas.microsoft.com/office/drawing/2014/main" id="{A95DF906-2EDB-6116-54A8-BD97C8DF2AFC}"/>
              </a:ext>
            </a:extLst>
          </p:cNvPr>
          <p:cNvSpPr>
            <a:spLocks noChangeArrowheads="1"/>
          </p:cNvSpPr>
          <p:nvPr/>
        </p:nvSpPr>
        <p:spPr bwMode="auto">
          <a:xfrm>
            <a:off x="274132" y="825393"/>
            <a:ext cx="2560320" cy="692727"/>
          </a:xfrm>
          <a:prstGeom prst="chevron">
            <a:avLst>
              <a:gd name="adj" fmla="val 56818"/>
            </a:avLst>
          </a:prstGeom>
          <a:solidFill>
            <a:srgbClr val="000000"/>
          </a:solidFill>
          <a:ln w="3175">
            <a:noFill/>
            <a:miter lim="800000"/>
            <a:headEnd/>
            <a:tailEnd/>
          </a:ln>
          <a:effectLst/>
        </p:spPr>
        <p:txBody>
          <a:bodyPr wrap="square" lIns="0" r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err="1">
                <a:ln>
                  <a:noFill/>
                </a:ln>
                <a:solidFill>
                  <a:prstClr val="white"/>
                </a:solidFill>
                <a:effectLst/>
                <a:uLnTx/>
                <a:uFillTx/>
                <a:latin typeface="Ubuntu"/>
                <a:ea typeface="+mn-ea"/>
                <a:cs typeface="+mn-cs"/>
              </a:rPr>
              <a:t>ALM</a:t>
            </a:r>
            <a:r>
              <a:rPr kumimoji="0" lang="en-US" sz="1400" b="1" i="0" u="none" strike="noStrike" kern="0" cap="none" spc="0" normalizeH="0" baseline="0" noProof="0" dirty="0">
                <a:ln>
                  <a:noFill/>
                </a:ln>
                <a:solidFill>
                  <a:prstClr val="white"/>
                </a:solidFill>
                <a:effectLst/>
                <a:uLnTx/>
                <a:uFillTx/>
                <a:latin typeface="Ubuntu"/>
                <a:ea typeface="+mn-ea"/>
                <a:cs typeface="+mn-cs"/>
              </a:rPr>
              <a:t> Access</a:t>
            </a:r>
          </a:p>
        </p:txBody>
      </p:sp>
      <p:sp>
        <p:nvSpPr>
          <p:cNvPr id="8" name="AutoShape 220">
            <a:extLst>
              <a:ext uri="{FF2B5EF4-FFF2-40B4-BE49-F238E27FC236}">
                <a16:creationId xmlns:a16="http://schemas.microsoft.com/office/drawing/2014/main" id="{E57FB08C-0A01-F03F-750A-595CD936820C}"/>
              </a:ext>
            </a:extLst>
          </p:cNvPr>
          <p:cNvSpPr>
            <a:spLocks noChangeArrowheads="1"/>
          </p:cNvSpPr>
          <p:nvPr/>
        </p:nvSpPr>
        <p:spPr bwMode="auto">
          <a:xfrm>
            <a:off x="2571103" y="825393"/>
            <a:ext cx="2560320" cy="692727"/>
          </a:xfrm>
          <a:prstGeom prst="chevron">
            <a:avLst>
              <a:gd name="adj" fmla="val 56818"/>
            </a:avLst>
          </a:prstGeom>
          <a:solidFill>
            <a:srgbClr val="000000"/>
          </a:solidFill>
          <a:ln w="3175">
            <a:noFill/>
            <a:miter lim="800000"/>
            <a:headEnd/>
            <a:tailEnd/>
          </a:ln>
          <a:effectLst/>
        </p:spPr>
        <p:txBody>
          <a:bodyPr wrap="square" lIns="0" r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Ubuntu"/>
                <a:ea typeface="+mn-ea"/>
                <a:cs typeface="+mn-cs"/>
              </a:rPr>
              <a:t>Preparation</a:t>
            </a:r>
          </a:p>
        </p:txBody>
      </p:sp>
      <p:sp>
        <p:nvSpPr>
          <p:cNvPr id="10" name="Text Box 194">
            <a:extLst>
              <a:ext uri="{FF2B5EF4-FFF2-40B4-BE49-F238E27FC236}">
                <a16:creationId xmlns:a16="http://schemas.microsoft.com/office/drawing/2014/main" id="{879DB478-13B6-B5A2-E575-153D09E8930D}"/>
              </a:ext>
            </a:extLst>
          </p:cNvPr>
          <p:cNvSpPr txBox="1">
            <a:spLocks noChangeArrowheads="1"/>
          </p:cNvSpPr>
          <p:nvPr/>
        </p:nvSpPr>
        <p:spPr bwMode="auto">
          <a:xfrm>
            <a:off x="274132" y="1548814"/>
            <a:ext cx="2194560" cy="2117930"/>
          </a:xfrm>
          <a:prstGeom prst="rect">
            <a:avLst/>
          </a:prstGeom>
          <a:solidFill>
            <a:srgbClr val="ECECEC"/>
          </a:solidFill>
          <a:ln w="9525" algn="ctr">
            <a:noFill/>
            <a:miter lim="800000"/>
            <a:headEnd/>
            <a:tailEnd/>
          </a:ln>
        </p:spPr>
        <p:txBody>
          <a:bodyPr/>
          <a:lstStyle>
            <a:defPPr>
              <a:defRPr lang="en-US"/>
            </a:defPPr>
            <a:lvl1pPr marL="114300" indent="-114300" fontAlgn="base">
              <a:spcBef>
                <a:spcPct val="30000"/>
              </a:spcBef>
              <a:spcAft>
                <a:spcPct val="0"/>
              </a:spcAft>
              <a:buClr>
                <a:srgbClr val="1EA3D2"/>
              </a:buClr>
              <a:buFont typeface="Wingdings" pitchFamily="2" charset="2"/>
              <a:buChar char="§"/>
              <a:defRPr sz="1000">
                <a:solidFill>
                  <a:prstClr val="black"/>
                </a:solidFill>
                <a:latin typeface="Candara" panose="020E0502030303020204" pitchFamily="34" charset="0"/>
                <a:ea typeface="ＭＳ Ｐゴシック" pitchFamily="34" charset="-128"/>
                <a:cs typeface="Times New Roman" pitchFamily="18" charset="0"/>
              </a:defRPr>
            </a:lvl1p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IN"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Raising request for New Users</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IN"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User Creation in </a:t>
            </a:r>
            <a:r>
              <a:rPr kumimoji="0" lang="en-IN" sz="1200" b="0" i="0" u="none" strike="noStrike" kern="0" cap="none" spc="0" normalizeH="0" baseline="0" noProof="0" dirty="0" err="1">
                <a:ln>
                  <a:noFill/>
                </a:ln>
                <a:solidFill>
                  <a:prstClr val="black"/>
                </a:solidFill>
                <a:effectLst/>
                <a:uLnTx/>
                <a:uFillTx/>
                <a:latin typeface="Ubuntu"/>
                <a:ea typeface="ＭＳ Ｐゴシック" pitchFamily="34" charset="-128"/>
                <a:cs typeface="Arial" panose="020B0604020202020204" pitchFamily="34" charset="0"/>
              </a:rPr>
              <a:t>ALM</a:t>
            </a:r>
            <a:endParaRPr kumimoji="0" lang="en-IN"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lang="en-IN" sz="1200" kern="0" dirty="0">
                <a:latin typeface="Ubuntu"/>
                <a:cs typeface="Arial" panose="020B0604020202020204" pitchFamily="34" charset="0"/>
              </a:rPr>
              <a:t>Assign specified roles</a:t>
            </a:r>
            <a:endParaRPr lang="en-US" sz="1200" kern="0" dirty="0">
              <a:latin typeface="Ubuntu"/>
              <a:cs typeface="Arial" panose="020B0604020202020204" pitchFamily="34" charset="0"/>
            </a:endParaRP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endPar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Times New Roman" pitchFamily="18" charset="0"/>
            </a:endParaRPr>
          </a:p>
        </p:txBody>
      </p:sp>
      <p:sp>
        <p:nvSpPr>
          <p:cNvPr id="11" name="Text Box 195">
            <a:extLst>
              <a:ext uri="{FF2B5EF4-FFF2-40B4-BE49-F238E27FC236}">
                <a16:creationId xmlns:a16="http://schemas.microsoft.com/office/drawing/2014/main" id="{26D108BB-0FBD-E31B-B257-8963FD142447}"/>
              </a:ext>
            </a:extLst>
          </p:cNvPr>
          <p:cNvSpPr txBox="1">
            <a:spLocks noChangeArrowheads="1"/>
          </p:cNvSpPr>
          <p:nvPr/>
        </p:nvSpPr>
        <p:spPr bwMode="auto">
          <a:xfrm>
            <a:off x="2571103" y="1548814"/>
            <a:ext cx="2194560" cy="2117930"/>
          </a:xfrm>
          <a:prstGeom prst="rect">
            <a:avLst/>
          </a:prstGeom>
          <a:solidFill>
            <a:srgbClr val="ECECEC"/>
          </a:solidFill>
          <a:ln w="9525" algn="ctr">
            <a:noFill/>
            <a:miter lim="800000"/>
            <a:headEnd/>
            <a:tailEnd/>
          </a:ln>
        </p:spPr>
        <p:txBody>
          <a:bodyPr/>
          <a:lstStyle>
            <a:defPPr>
              <a:defRPr lang="en-US"/>
            </a:defPPr>
            <a:lvl1pPr marL="114300" indent="-114300" fontAlgn="base">
              <a:spcBef>
                <a:spcPct val="30000"/>
              </a:spcBef>
              <a:spcAft>
                <a:spcPct val="0"/>
              </a:spcAft>
              <a:buClr>
                <a:srgbClr val="1EA3D2"/>
              </a:buClr>
              <a:buFont typeface="Wingdings" pitchFamily="2" charset="2"/>
              <a:buChar char="§"/>
              <a:defRPr sz="1000">
                <a:solidFill>
                  <a:prstClr val="black"/>
                </a:solidFill>
                <a:latin typeface="Candara" panose="020E0502030303020204" pitchFamily="34" charset="0"/>
                <a:ea typeface="ＭＳ Ｐゴシック" pitchFamily="34" charset="-128"/>
                <a:cs typeface="Times New Roman" pitchFamily="18" charset="0"/>
              </a:defRPr>
            </a:lvl1p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Loading User Stories/Requirements </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lang="en-US" sz="1200" kern="0" dirty="0">
                <a:latin typeface="Ubuntu"/>
                <a:cs typeface="Arial" panose="020B0604020202020204" pitchFamily="34" charset="0"/>
              </a:rPr>
              <a:t>Crating Cycle &amp; Release</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Loading Test cases into test Plan</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lang="en-US" sz="1200" kern="0" dirty="0">
                <a:latin typeface="Ubuntu"/>
                <a:cs typeface="Arial" panose="020B0604020202020204" pitchFamily="34" charset="0"/>
              </a:rPr>
              <a:t>Tying all test  cases to their respective User stories.</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Create Status Report, Defect reports</a:t>
            </a:r>
          </a:p>
        </p:txBody>
      </p:sp>
      <p:sp>
        <p:nvSpPr>
          <p:cNvPr id="12" name="Text Box 196">
            <a:extLst>
              <a:ext uri="{FF2B5EF4-FFF2-40B4-BE49-F238E27FC236}">
                <a16:creationId xmlns:a16="http://schemas.microsoft.com/office/drawing/2014/main" id="{0A5D624D-4FC8-6F83-B783-E53C99DCA963}"/>
              </a:ext>
            </a:extLst>
          </p:cNvPr>
          <p:cNvSpPr txBox="1">
            <a:spLocks noChangeArrowheads="1"/>
          </p:cNvSpPr>
          <p:nvPr/>
        </p:nvSpPr>
        <p:spPr bwMode="auto">
          <a:xfrm>
            <a:off x="4868074" y="1548814"/>
            <a:ext cx="2194560" cy="2117930"/>
          </a:xfrm>
          <a:prstGeom prst="rect">
            <a:avLst/>
          </a:prstGeom>
          <a:solidFill>
            <a:srgbClr val="ECECEC"/>
          </a:solidFill>
          <a:ln w="9525" algn="ctr">
            <a:noFill/>
            <a:miter lim="800000"/>
            <a:headEnd/>
            <a:tailEnd/>
          </a:ln>
        </p:spPr>
        <p:txBody>
          <a:bodyPr/>
          <a:lstStyle>
            <a:defPPr>
              <a:defRPr lang="en-US"/>
            </a:defPPr>
            <a:lvl1pPr marL="114300" indent="-114300" fontAlgn="base">
              <a:spcBef>
                <a:spcPct val="30000"/>
              </a:spcBef>
              <a:spcAft>
                <a:spcPct val="0"/>
              </a:spcAft>
              <a:buClr>
                <a:srgbClr val="1EA3D2"/>
              </a:buClr>
              <a:buFont typeface="Wingdings" pitchFamily="2" charset="2"/>
              <a:buChar char="§"/>
              <a:defRPr sz="1000">
                <a:solidFill>
                  <a:prstClr val="black"/>
                </a:solidFill>
                <a:latin typeface="Candara" panose="020E0502030303020204" pitchFamily="34" charset="0"/>
                <a:ea typeface="ＭＳ Ｐゴシック" pitchFamily="34" charset="-128"/>
                <a:cs typeface="Times New Roman" pitchFamily="18" charset="0"/>
              </a:defRPr>
            </a:lvl1p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Create SIT/</a:t>
            </a:r>
            <a:r>
              <a:rPr kumimoji="0" lang="en-US" sz="1200" b="0" i="0" u="none" strike="noStrike" kern="0" cap="none" spc="0" normalizeH="0" baseline="0" noProof="0" dirty="0" err="1">
                <a:ln>
                  <a:noFill/>
                </a:ln>
                <a:solidFill>
                  <a:prstClr val="black"/>
                </a:solidFill>
                <a:effectLst/>
                <a:uLnTx/>
                <a:uFillTx/>
                <a:latin typeface="Ubuntu"/>
                <a:ea typeface="ＭＳ Ｐゴシック" pitchFamily="34" charset="-128"/>
                <a:cs typeface="Arial" panose="020B0604020202020204" pitchFamily="34" charset="0"/>
              </a:rPr>
              <a:t>UAT</a:t>
            </a: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 place holder in Test Lab</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lang="en-US" sz="1200" kern="0" dirty="0">
                <a:latin typeface="Ubuntu"/>
                <a:cs typeface="Arial" panose="020B0604020202020204" pitchFamily="34" charset="0"/>
              </a:rPr>
              <a:t>Loading test cases into Test Lab</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Assign test cases to respective tester</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lang="en-US" sz="1200" kern="0" dirty="0">
                <a:latin typeface="Ubuntu"/>
                <a:cs typeface="Arial" panose="020B0604020202020204" pitchFamily="34" charset="0"/>
              </a:rPr>
              <a:t>Prepare execution plan and update in Test Lab</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Sharing the execution plan with business.</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endPar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p:txBody>
      </p:sp>
      <p:sp>
        <p:nvSpPr>
          <p:cNvPr id="13" name="Text Box 197">
            <a:extLst>
              <a:ext uri="{FF2B5EF4-FFF2-40B4-BE49-F238E27FC236}">
                <a16:creationId xmlns:a16="http://schemas.microsoft.com/office/drawing/2014/main" id="{936BE102-CA06-3A72-72B2-FACDDF0E3182}"/>
              </a:ext>
            </a:extLst>
          </p:cNvPr>
          <p:cNvSpPr txBox="1">
            <a:spLocks noChangeArrowheads="1"/>
          </p:cNvSpPr>
          <p:nvPr/>
        </p:nvSpPr>
        <p:spPr bwMode="auto">
          <a:xfrm>
            <a:off x="7165045" y="1548814"/>
            <a:ext cx="2194560" cy="2117930"/>
          </a:xfrm>
          <a:prstGeom prst="rect">
            <a:avLst/>
          </a:prstGeom>
          <a:solidFill>
            <a:srgbClr val="ECECEC"/>
          </a:solidFill>
          <a:ln w="9525" algn="ctr">
            <a:noFill/>
            <a:miter lim="800000"/>
            <a:headEnd/>
            <a:tailEnd/>
          </a:ln>
        </p:spPr>
        <p:txBody>
          <a:bodyPr/>
          <a:lstStyle/>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Tracking execution status</a:t>
            </a:r>
          </a:p>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r>
              <a:rPr lang="en-US" sz="1200" kern="0" dirty="0">
                <a:solidFill>
                  <a:prstClr val="black"/>
                </a:solidFill>
                <a:latin typeface="Ubuntu"/>
                <a:ea typeface="ＭＳ Ｐゴシック" pitchFamily="34" charset="-128"/>
                <a:cs typeface="Arial" panose="020B0604020202020204" pitchFamily="34" charset="0"/>
              </a:rPr>
              <a:t>Handling day status call</a:t>
            </a:r>
          </a:p>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Defects Discussion</a:t>
            </a:r>
          </a:p>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r>
              <a:rPr lang="en-US" sz="1200" kern="0" dirty="0">
                <a:solidFill>
                  <a:prstClr val="black"/>
                </a:solidFill>
                <a:latin typeface="Ubuntu"/>
                <a:ea typeface="ＭＳ Ｐゴシック" pitchFamily="34" charset="-128"/>
                <a:cs typeface="Arial" panose="020B0604020202020204" pitchFamily="34" charset="0"/>
              </a:rPr>
              <a:t>Sharing SIT/</a:t>
            </a:r>
            <a:r>
              <a:rPr lang="en-US" sz="1200" kern="0" dirty="0" err="1">
                <a:solidFill>
                  <a:prstClr val="black"/>
                </a:solidFill>
                <a:latin typeface="Ubuntu"/>
                <a:ea typeface="ＭＳ Ｐゴシック" pitchFamily="34" charset="-128"/>
                <a:cs typeface="Arial" panose="020B0604020202020204" pitchFamily="34" charset="0"/>
              </a:rPr>
              <a:t>UAT</a:t>
            </a:r>
            <a:r>
              <a:rPr lang="en-US" sz="1200" kern="0" dirty="0">
                <a:solidFill>
                  <a:prstClr val="black"/>
                </a:solidFill>
                <a:latin typeface="Ubuntu"/>
                <a:ea typeface="ＭＳ Ｐゴシック" pitchFamily="34" charset="-128"/>
                <a:cs typeface="Arial" panose="020B0604020202020204" pitchFamily="34" charset="0"/>
              </a:rPr>
              <a:t> progress report reports with Business.</a:t>
            </a:r>
          </a:p>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r>
              <a:rPr lang="en-US" sz="1200" kern="0" dirty="0">
                <a:solidFill>
                  <a:prstClr val="black"/>
                </a:solidFill>
                <a:latin typeface="Ubuntu"/>
                <a:ea typeface="ＭＳ Ｐゴシック" pitchFamily="34" charset="-128"/>
                <a:cs typeface="Arial" panose="020B0604020202020204" pitchFamily="34" charset="0"/>
              </a:rPr>
              <a:t>Conducting defect triage calls</a:t>
            </a:r>
            <a:endPar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endParaRPr kumimoji="0" lang="en-US" sz="1200" b="0" i="0" u="none" strike="noStrike" kern="0" cap="none" spc="0" normalizeH="0" baseline="0" noProof="0" dirty="0">
              <a:ln>
                <a:noFill/>
              </a:ln>
              <a:solidFill>
                <a:srgbClr val="000000"/>
              </a:solidFill>
              <a:effectLst/>
              <a:uLnTx/>
              <a:uFillTx/>
              <a:latin typeface="Ubuntu"/>
              <a:ea typeface="+mn-ea"/>
              <a:cs typeface="Arial" panose="020B0604020202020204" pitchFamily="34" charset="0"/>
            </a:endParaRP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endPar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p:txBody>
      </p:sp>
      <p:sp>
        <p:nvSpPr>
          <p:cNvPr id="14" name="AutoShape 275">
            <a:extLst>
              <a:ext uri="{FF2B5EF4-FFF2-40B4-BE49-F238E27FC236}">
                <a16:creationId xmlns:a16="http://schemas.microsoft.com/office/drawing/2014/main" id="{D5FC1BD6-9DAD-E843-7327-F7BF32FE3FE7}"/>
              </a:ext>
            </a:extLst>
          </p:cNvPr>
          <p:cNvSpPr>
            <a:spLocks noChangeArrowheads="1"/>
          </p:cNvSpPr>
          <p:nvPr/>
        </p:nvSpPr>
        <p:spPr bwMode="auto">
          <a:xfrm>
            <a:off x="2571102" y="5073285"/>
            <a:ext cx="2194560" cy="856645"/>
          </a:xfrm>
          <a:prstGeom prst="roundRect">
            <a:avLst>
              <a:gd name="adj" fmla="val 0"/>
            </a:avLst>
          </a:prstGeom>
          <a:noFill/>
          <a:ln w="9525" algn="ctr">
            <a:noFill/>
            <a:miter lim="800000"/>
            <a:headEnd/>
            <a:tailEnd/>
          </a:ln>
        </p:spPr>
        <p:txBody>
          <a:bodyPr>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Automation approach and strategy</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List of automatable Regression Test cases</a:t>
            </a:r>
          </a:p>
        </p:txBody>
      </p:sp>
      <p:sp>
        <p:nvSpPr>
          <p:cNvPr id="15" name="Text Box 197">
            <a:extLst>
              <a:ext uri="{FF2B5EF4-FFF2-40B4-BE49-F238E27FC236}">
                <a16:creationId xmlns:a16="http://schemas.microsoft.com/office/drawing/2014/main" id="{F1E1A4CA-E0A9-2DC2-F969-F46CDAC9CBE6}"/>
              </a:ext>
            </a:extLst>
          </p:cNvPr>
          <p:cNvSpPr txBox="1">
            <a:spLocks noChangeArrowheads="1"/>
          </p:cNvSpPr>
          <p:nvPr/>
        </p:nvSpPr>
        <p:spPr bwMode="auto">
          <a:xfrm>
            <a:off x="9462017" y="1548814"/>
            <a:ext cx="2194560" cy="2117930"/>
          </a:xfrm>
          <a:prstGeom prst="rect">
            <a:avLst/>
          </a:prstGeom>
          <a:solidFill>
            <a:srgbClr val="ECECEC"/>
          </a:solidFill>
          <a:ln w="9525" algn="ctr">
            <a:noFill/>
            <a:miter lim="800000"/>
            <a:headEnd/>
            <a:tailEnd/>
          </a:ln>
        </p:spPr>
        <p:txBody>
          <a:bodyPr/>
          <a:lstStyle/>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Customization of fields if required.</a:t>
            </a:r>
          </a:p>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Improvement plan based on </a:t>
            </a:r>
          </a:p>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Handover the SIT/</a:t>
            </a:r>
            <a:r>
              <a:rPr kumimoji="0" lang="en-US" sz="1200" b="0" i="0" u="none" strike="noStrike" kern="0" cap="none" spc="0" normalizeH="0" baseline="0" noProof="0" dirty="0" err="1">
                <a:ln>
                  <a:noFill/>
                </a:ln>
                <a:solidFill>
                  <a:prstClr val="black"/>
                </a:solidFill>
                <a:effectLst/>
                <a:uLnTx/>
                <a:uFillTx/>
                <a:latin typeface="Ubuntu"/>
                <a:ea typeface="ＭＳ Ｐゴシック" pitchFamily="34" charset="-128"/>
                <a:cs typeface="Arial" panose="020B0604020202020204" pitchFamily="34" charset="0"/>
              </a:rPr>
              <a:t>UAT</a:t>
            </a: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 reports to the business.</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Create Closure Report and Recommendations</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Sign off from the client</a:t>
            </a:r>
          </a:p>
        </p:txBody>
      </p:sp>
      <p:sp>
        <p:nvSpPr>
          <p:cNvPr id="16" name="AutoShape 6">
            <a:extLst>
              <a:ext uri="{FF2B5EF4-FFF2-40B4-BE49-F238E27FC236}">
                <a16:creationId xmlns:a16="http://schemas.microsoft.com/office/drawing/2014/main" id="{64229659-51BA-C077-5911-C68B2EEDA44A}"/>
              </a:ext>
            </a:extLst>
          </p:cNvPr>
          <p:cNvSpPr>
            <a:spLocks noChangeArrowheads="1"/>
          </p:cNvSpPr>
          <p:nvPr/>
        </p:nvSpPr>
        <p:spPr bwMode="auto">
          <a:xfrm>
            <a:off x="7062415" y="4296956"/>
            <a:ext cx="204382" cy="265271"/>
          </a:xfrm>
          <a:prstGeom prst="flowChartAlternateProcess">
            <a:avLst/>
          </a:prstGeom>
          <a:noFill/>
          <a:ln w="9525" algn="ctr">
            <a:noFill/>
            <a:miter lim="800000"/>
            <a:headEnd/>
            <a:tailEnd/>
          </a:ln>
        </p:spPr>
        <p:txBody>
          <a:bodyPr wrap="none"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1000" b="1" i="0" u="none" strike="noStrike" kern="1200" cap="none" spc="0" normalizeH="0" baseline="0" noProof="0">
              <a:ln>
                <a:noFill/>
              </a:ln>
              <a:solidFill>
                <a:prstClr val="black"/>
              </a:solidFill>
              <a:effectLst/>
              <a:uLnTx/>
              <a:uFillTx/>
              <a:latin typeface="Ubuntu"/>
              <a:ea typeface="ＭＳ Ｐゴシック" pitchFamily="34" charset="-128"/>
              <a:cs typeface="Arial" charset="0"/>
            </a:endParaRPr>
          </a:p>
        </p:txBody>
      </p:sp>
      <p:sp>
        <p:nvSpPr>
          <p:cNvPr id="17" name="Rectangle 282">
            <a:extLst>
              <a:ext uri="{FF2B5EF4-FFF2-40B4-BE49-F238E27FC236}">
                <a16:creationId xmlns:a16="http://schemas.microsoft.com/office/drawing/2014/main" id="{D76877AD-F9A0-4477-041C-4CF5E9C3ABF6}"/>
              </a:ext>
            </a:extLst>
          </p:cNvPr>
          <p:cNvSpPr>
            <a:spLocks noChangeArrowheads="1"/>
          </p:cNvSpPr>
          <p:nvPr/>
        </p:nvSpPr>
        <p:spPr bwMode="auto">
          <a:xfrm>
            <a:off x="274131" y="4013526"/>
            <a:ext cx="2127515"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Ubuntu"/>
                <a:ea typeface="ＭＳ Ｐゴシック" pitchFamily="34" charset="-128"/>
                <a:cs typeface="Arial" charset="0"/>
              </a:rPr>
              <a:t>Deliverables</a:t>
            </a:r>
          </a:p>
        </p:txBody>
      </p:sp>
      <p:sp>
        <p:nvSpPr>
          <p:cNvPr id="18" name="Freeform 284">
            <a:extLst>
              <a:ext uri="{FF2B5EF4-FFF2-40B4-BE49-F238E27FC236}">
                <a16:creationId xmlns:a16="http://schemas.microsoft.com/office/drawing/2014/main" id="{8E4DF558-2AF0-2276-85C4-DD0C4FA4454F}"/>
              </a:ext>
            </a:extLst>
          </p:cNvPr>
          <p:cNvSpPr>
            <a:spLocks/>
          </p:cNvSpPr>
          <p:nvPr/>
        </p:nvSpPr>
        <p:spPr bwMode="auto">
          <a:xfrm>
            <a:off x="274132" y="3710597"/>
            <a:ext cx="2194560" cy="304132"/>
          </a:xfrm>
          <a:custGeom>
            <a:avLst/>
            <a:gdLst>
              <a:gd name="T0" fmla="*/ 0 w 12800"/>
              <a:gd name="T1" fmla="*/ 0 h 1600"/>
              <a:gd name="T2" fmla="*/ 0 w 12800"/>
              <a:gd name="T3" fmla="*/ 0 h 1600"/>
              <a:gd name="T4" fmla="*/ 0 w 12800"/>
              <a:gd name="T5" fmla="*/ 0 h 1600"/>
              <a:gd name="T6" fmla="*/ 0 w 12800"/>
              <a:gd name="T7" fmla="*/ 0 h 1600"/>
              <a:gd name="T8" fmla="*/ 0 w 12800"/>
              <a:gd name="T9" fmla="*/ 0 h 1600"/>
              <a:gd name="T10" fmla="*/ 0 w 12800"/>
              <a:gd name="T11" fmla="*/ 0 h 1600"/>
              <a:gd name="T12" fmla="*/ 0 w 12800"/>
              <a:gd name="T13" fmla="*/ 0 h 1600"/>
              <a:gd name="T14" fmla="*/ 0 60000 65536"/>
              <a:gd name="T15" fmla="*/ 0 60000 65536"/>
              <a:gd name="T16" fmla="*/ 0 60000 65536"/>
              <a:gd name="T17" fmla="*/ 0 60000 65536"/>
              <a:gd name="T18" fmla="*/ 0 60000 65536"/>
              <a:gd name="T19" fmla="*/ 0 60000 65536"/>
              <a:gd name="T20" fmla="*/ 0 60000 65536"/>
              <a:gd name="T21" fmla="*/ 0 w 12800"/>
              <a:gd name="T22" fmla="*/ 0 h 1600"/>
              <a:gd name="T23" fmla="*/ 12800 w 12800"/>
              <a:gd name="T24" fmla="*/ 1600 h 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800" h="1600">
                <a:moveTo>
                  <a:pt x="12800" y="0"/>
                </a:moveTo>
                <a:cubicBezTo>
                  <a:pt x="12800" y="442"/>
                  <a:pt x="12323" y="800"/>
                  <a:pt x="11734" y="800"/>
                </a:cubicBezTo>
                <a:lnTo>
                  <a:pt x="7467" y="800"/>
                </a:lnTo>
                <a:cubicBezTo>
                  <a:pt x="6878" y="800"/>
                  <a:pt x="6400" y="1159"/>
                  <a:pt x="6400" y="1600"/>
                </a:cubicBezTo>
                <a:cubicBezTo>
                  <a:pt x="6400" y="1159"/>
                  <a:pt x="5923" y="800"/>
                  <a:pt x="5334" y="800"/>
                </a:cubicBezTo>
                <a:lnTo>
                  <a:pt x="1067" y="800"/>
                </a:lnTo>
                <a:cubicBezTo>
                  <a:pt x="478" y="800"/>
                  <a:pt x="0" y="442"/>
                  <a:pt x="0" y="0"/>
                </a:cubicBezTo>
              </a:path>
            </a:pathLst>
          </a:custGeom>
          <a:noFill/>
          <a:ln w="30163" cap="rnd">
            <a:solidFill>
              <a:srgbClr val="80808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Ubuntu"/>
              <a:ea typeface="ＭＳ Ｐゴシック" pitchFamily="34" charset="-128"/>
              <a:cs typeface="+mn-cs"/>
            </a:endParaRPr>
          </a:p>
        </p:txBody>
      </p:sp>
      <p:sp>
        <p:nvSpPr>
          <p:cNvPr id="19" name="Freeform 284">
            <a:extLst>
              <a:ext uri="{FF2B5EF4-FFF2-40B4-BE49-F238E27FC236}">
                <a16:creationId xmlns:a16="http://schemas.microsoft.com/office/drawing/2014/main" id="{C82F46C5-6520-76A3-1AE9-D79F8859D22C}"/>
              </a:ext>
            </a:extLst>
          </p:cNvPr>
          <p:cNvSpPr>
            <a:spLocks/>
          </p:cNvSpPr>
          <p:nvPr/>
        </p:nvSpPr>
        <p:spPr bwMode="auto">
          <a:xfrm>
            <a:off x="2545106" y="3710597"/>
            <a:ext cx="2194560" cy="304132"/>
          </a:xfrm>
          <a:custGeom>
            <a:avLst/>
            <a:gdLst>
              <a:gd name="T0" fmla="*/ 0 w 12800"/>
              <a:gd name="T1" fmla="*/ 0 h 1600"/>
              <a:gd name="T2" fmla="*/ 0 w 12800"/>
              <a:gd name="T3" fmla="*/ 0 h 1600"/>
              <a:gd name="T4" fmla="*/ 0 w 12800"/>
              <a:gd name="T5" fmla="*/ 0 h 1600"/>
              <a:gd name="T6" fmla="*/ 0 w 12800"/>
              <a:gd name="T7" fmla="*/ 0 h 1600"/>
              <a:gd name="T8" fmla="*/ 0 w 12800"/>
              <a:gd name="T9" fmla="*/ 0 h 1600"/>
              <a:gd name="T10" fmla="*/ 0 w 12800"/>
              <a:gd name="T11" fmla="*/ 0 h 1600"/>
              <a:gd name="T12" fmla="*/ 0 w 12800"/>
              <a:gd name="T13" fmla="*/ 0 h 1600"/>
              <a:gd name="T14" fmla="*/ 0 60000 65536"/>
              <a:gd name="T15" fmla="*/ 0 60000 65536"/>
              <a:gd name="T16" fmla="*/ 0 60000 65536"/>
              <a:gd name="T17" fmla="*/ 0 60000 65536"/>
              <a:gd name="T18" fmla="*/ 0 60000 65536"/>
              <a:gd name="T19" fmla="*/ 0 60000 65536"/>
              <a:gd name="T20" fmla="*/ 0 60000 65536"/>
              <a:gd name="T21" fmla="*/ 0 w 12800"/>
              <a:gd name="T22" fmla="*/ 0 h 1600"/>
              <a:gd name="T23" fmla="*/ 12800 w 12800"/>
              <a:gd name="T24" fmla="*/ 1600 h 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800" h="1600">
                <a:moveTo>
                  <a:pt x="12800" y="0"/>
                </a:moveTo>
                <a:cubicBezTo>
                  <a:pt x="12800" y="442"/>
                  <a:pt x="12323" y="800"/>
                  <a:pt x="11734" y="800"/>
                </a:cubicBezTo>
                <a:lnTo>
                  <a:pt x="7467" y="800"/>
                </a:lnTo>
                <a:cubicBezTo>
                  <a:pt x="6878" y="800"/>
                  <a:pt x="6400" y="1159"/>
                  <a:pt x="6400" y="1600"/>
                </a:cubicBezTo>
                <a:cubicBezTo>
                  <a:pt x="6400" y="1159"/>
                  <a:pt x="5923" y="800"/>
                  <a:pt x="5334" y="800"/>
                </a:cubicBezTo>
                <a:lnTo>
                  <a:pt x="1067" y="800"/>
                </a:lnTo>
                <a:cubicBezTo>
                  <a:pt x="478" y="800"/>
                  <a:pt x="0" y="442"/>
                  <a:pt x="0" y="0"/>
                </a:cubicBezTo>
              </a:path>
            </a:pathLst>
          </a:custGeom>
          <a:noFill/>
          <a:ln w="30163" cap="rnd">
            <a:solidFill>
              <a:srgbClr val="80808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Ubuntu"/>
              <a:ea typeface="ＭＳ Ｐゴシック" pitchFamily="34" charset="-128"/>
              <a:cs typeface="+mn-cs"/>
            </a:endParaRPr>
          </a:p>
        </p:txBody>
      </p:sp>
      <p:sp>
        <p:nvSpPr>
          <p:cNvPr id="20" name="Freeform 284">
            <a:extLst>
              <a:ext uri="{FF2B5EF4-FFF2-40B4-BE49-F238E27FC236}">
                <a16:creationId xmlns:a16="http://schemas.microsoft.com/office/drawing/2014/main" id="{B34A669B-DAF3-5E69-6424-CAFFED6C1B9F}"/>
              </a:ext>
            </a:extLst>
          </p:cNvPr>
          <p:cNvSpPr>
            <a:spLocks/>
          </p:cNvSpPr>
          <p:nvPr/>
        </p:nvSpPr>
        <p:spPr bwMode="auto">
          <a:xfrm>
            <a:off x="4868074" y="3710597"/>
            <a:ext cx="2194560" cy="304132"/>
          </a:xfrm>
          <a:custGeom>
            <a:avLst/>
            <a:gdLst>
              <a:gd name="T0" fmla="*/ 0 w 12800"/>
              <a:gd name="T1" fmla="*/ 0 h 1600"/>
              <a:gd name="T2" fmla="*/ 0 w 12800"/>
              <a:gd name="T3" fmla="*/ 0 h 1600"/>
              <a:gd name="T4" fmla="*/ 0 w 12800"/>
              <a:gd name="T5" fmla="*/ 0 h 1600"/>
              <a:gd name="T6" fmla="*/ 0 w 12800"/>
              <a:gd name="T7" fmla="*/ 0 h 1600"/>
              <a:gd name="T8" fmla="*/ 0 w 12800"/>
              <a:gd name="T9" fmla="*/ 0 h 1600"/>
              <a:gd name="T10" fmla="*/ 0 w 12800"/>
              <a:gd name="T11" fmla="*/ 0 h 1600"/>
              <a:gd name="T12" fmla="*/ 0 w 12800"/>
              <a:gd name="T13" fmla="*/ 0 h 1600"/>
              <a:gd name="T14" fmla="*/ 0 60000 65536"/>
              <a:gd name="T15" fmla="*/ 0 60000 65536"/>
              <a:gd name="T16" fmla="*/ 0 60000 65536"/>
              <a:gd name="T17" fmla="*/ 0 60000 65536"/>
              <a:gd name="T18" fmla="*/ 0 60000 65536"/>
              <a:gd name="T19" fmla="*/ 0 60000 65536"/>
              <a:gd name="T20" fmla="*/ 0 60000 65536"/>
              <a:gd name="T21" fmla="*/ 0 w 12800"/>
              <a:gd name="T22" fmla="*/ 0 h 1600"/>
              <a:gd name="T23" fmla="*/ 12800 w 12800"/>
              <a:gd name="T24" fmla="*/ 1600 h 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800" h="1600">
                <a:moveTo>
                  <a:pt x="12800" y="0"/>
                </a:moveTo>
                <a:cubicBezTo>
                  <a:pt x="12800" y="442"/>
                  <a:pt x="12323" y="800"/>
                  <a:pt x="11734" y="800"/>
                </a:cubicBezTo>
                <a:lnTo>
                  <a:pt x="7467" y="800"/>
                </a:lnTo>
                <a:cubicBezTo>
                  <a:pt x="6878" y="800"/>
                  <a:pt x="6400" y="1159"/>
                  <a:pt x="6400" y="1600"/>
                </a:cubicBezTo>
                <a:cubicBezTo>
                  <a:pt x="6400" y="1159"/>
                  <a:pt x="5923" y="800"/>
                  <a:pt x="5334" y="800"/>
                </a:cubicBezTo>
                <a:lnTo>
                  <a:pt x="1067" y="800"/>
                </a:lnTo>
                <a:cubicBezTo>
                  <a:pt x="478" y="800"/>
                  <a:pt x="0" y="442"/>
                  <a:pt x="0" y="0"/>
                </a:cubicBezTo>
              </a:path>
            </a:pathLst>
          </a:custGeom>
          <a:noFill/>
          <a:ln w="30163" cap="rnd">
            <a:solidFill>
              <a:srgbClr val="80808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Ubuntu"/>
              <a:ea typeface="ＭＳ Ｐゴシック" pitchFamily="34" charset="-128"/>
              <a:cs typeface="+mn-cs"/>
            </a:endParaRPr>
          </a:p>
        </p:txBody>
      </p:sp>
      <p:sp>
        <p:nvSpPr>
          <p:cNvPr id="21" name="Freeform 284">
            <a:extLst>
              <a:ext uri="{FF2B5EF4-FFF2-40B4-BE49-F238E27FC236}">
                <a16:creationId xmlns:a16="http://schemas.microsoft.com/office/drawing/2014/main" id="{FF532A7A-D6D2-1EA4-872C-D8EB12CCEF7A}"/>
              </a:ext>
            </a:extLst>
          </p:cNvPr>
          <p:cNvSpPr>
            <a:spLocks/>
          </p:cNvSpPr>
          <p:nvPr/>
        </p:nvSpPr>
        <p:spPr bwMode="auto">
          <a:xfrm>
            <a:off x="7165045" y="3710597"/>
            <a:ext cx="2194560" cy="304132"/>
          </a:xfrm>
          <a:custGeom>
            <a:avLst/>
            <a:gdLst>
              <a:gd name="T0" fmla="*/ 0 w 12800"/>
              <a:gd name="T1" fmla="*/ 0 h 1600"/>
              <a:gd name="T2" fmla="*/ 0 w 12800"/>
              <a:gd name="T3" fmla="*/ 0 h 1600"/>
              <a:gd name="T4" fmla="*/ 0 w 12800"/>
              <a:gd name="T5" fmla="*/ 0 h 1600"/>
              <a:gd name="T6" fmla="*/ 0 w 12800"/>
              <a:gd name="T7" fmla="*/ 0 h 1600"/>
              <a:gd name="T8" fmla="*/ 0 w 12800"/>
              <a:gd name="T9" fmla="*/ 0 h 1600"/>
              <a:gd name="T10" fmla="*/ 0 w 12800"/>
              <a:gd name="T11" fmla="*/ 0 h 1600"/>
              <a:gd name="T12" fmla="*/ 0 w 12800"/>
              <a:gd name="T13" fmla="*/ 0 h 1600"/>
              <a:gd name="T14" fmla="*/ 0 60000 65536"/>
              <a:gd name="T15" fmla="*/ 0 60000 65536"/>
              <a:gd name="T16" fmla="*/ 0 60000 65536"/>
              <a:gd name="T17" fmla="*/ 0 60000 65536"/>
              <a:gd name="T18" fmla="*/ 0 60000 65536"/>
              <a:gd name="T19" fmla="*/ 0 60000 65536"/>
              <a:gd name="T20" fmla="*/ 0 60000 65536"/>
              <a:gd name="T21" fmla="*/ 0 w 12800"/>
              <a:gd name="T22" fmla="*/ 0 h 1600"/>
              <a:gd name="T23" fmla="*/ 12800 w 12800"/>
              <a:gd name="T24" fmla="*/ 1600 h 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800" h="1600">
                <a:moveTo>
                  <a:pt x="12800" y="0"/>
                </a:moveTo>
                <a:cubicBezTo>
                  <a:pt x="12800" y="442"/>
                  <a:pt x="12323" y="800"/>
                  <a:pt x="11734" y="800"/>
                </a:cubicBezTo>
                <a:lnTo>
                  <a:pt x="7467" y="800"/>
                </a:lnTo>
                <a:cubicBezTo>
                  <a:pt x="6878" y="800"/>
                  <a:pt x="6400" y="1159"/>
                  <a:pt x="6400" y="1600"/>
                </a:cubicBezTo>
                <a:cubicBezTo>
                  <a:pt x="6400" y="1159"/>
                  <a:pt x="5923" y="800"/>
                  <a:pt x="5334" y="800"/>
                </a:cubicBezTo>
                <a:lnTo>
                  <a:pt x="1067" y="800"/>
                </a:lnTo>
                <a:cubicBezTo>
                  <a:pt x="478" y="800"/>
                  <a:pt x="0" y="442"/>
                  <a:pt x="0" y="0"/>
                </a:cubicBezTo>
              </a:path>
            </a:pathLst>
          </a:custGeom>
          <a:noFill/>
          <a:ln w="30163" cap="rnd">
            <a:solidFill>
              <a:srgbClr val="80808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Ubuntu"/>
              <a:ea typeface="ＭＳ Ｐゴシック" pitchFamily="34" charset="-128"/>
              <a:cs typeface="+mn-cs"/>
            </a:endParaRPr>
          </a:p>
        </p:txBody>
      </p:sp>
      <p:sp>
        <p:nvSpPr>
          <p:cNvPr id="22" name="Freeform 212">
            <a:extLst>
              <a:ext uri="{FF2B5EF4-FFF2-40B4-BE49-F238E27FC236}">
                <a16:creationId xmlns:a16="http://schemas.microsoft.com/office/drawing/2014/main" id="{2B947363-1BC5-57E2-21CF-40C61490232F}"/>
              </a:ext>
            </a:extLst>
          </p:cNvPr>
          <p:cNvSpPr>
            <a:spLocks/>
          </p:cNvSpPr>
          <p:nvPr/>
        </p:nvSpPr>
        <p:spPr bwMode="auto">
          <a:xfrm>
            <a:off x="9462017" y="3710597"/>
            <a:ext cx="2194560" cy="304132"/>
          </a:xfrm>
          <a:custGeom>
            <a:avLst/>
            <a:gdLst>
              <a:gd name="T0" fmla="*/ 0 w 12800"/>
              <a:gd name="T1" fmla="*/ 0 h 1600"/>
              <a:gd name="T2" fmla="*/ 0 w 12800"/>
              <a:gd name="T3" fmla="*/ 0 h 1600"/>
              <a:gd name="T4" fmla="*/ 0 w 12800"/>
              <a:gd name="T5" fmla="*/ 0 h 1600"/>
              <a:gd name="T6" fmla="*/ 0 w 12800"/>
              <a:gd name="T7" fmla="*/ 0 h 1600"/>
              <a:gd name="T8" fmla="*/ 0 w 12800"/>
              <a:gd name="T9" fmla="*/ 0 h 1600"/>
              <a:gd name="T10" fmla="*/ 0 w 12800"/>
              <a:gd name="T11" fmla="*/ 0 h 1600"/>
              <a:gd name="T12" fmla="*/ 0 w 12800"/>
              <a:gd name="T13" fmla="*/ 0 h 1600"/>
              <a:gd name="T14" fmla="*/ 0 60000 65536"/>
              <a:gd name="T15" fmla="*/ 0 60000 65536"/>
              <a:gd name="T16" fmla="*/ 0 60000 65536"/>
              <a:gd name="T17" fmla="*/ 0 60000 65536"/>
              <a:gd name="T18" fmla="*/ 0 60000 65536"/>
              <a:gd name="T19" fmla="*/ 0 60000 65536"/>
              <a:gd name="T20" fmla="*/ 0 60000 65536"/>
              <a:gd name="T21" fmla="*/ 0 w 12800"/>
              <a:gd name="T22" fmla="*/ 0 h 1600"/>
              <a:gd name="T23" fmla="*/ 12800 w 12800"/>
              <a:gd name="T24" fmla="*/ 1600 h 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800" h="1600">
                <a:moveTo>
                  <a:pt x="12800" y="0"/>
                </a:moveTo>
                <a:cubicBezTo>
                  <a:pt x="12800" y="442"/>
                  <a:pt x="12323" y="800"/>
                  <a:pt x="11734" y="800"/>
                </a:cubicBezTo>
                <a:lnTo>
                  <a:pt x="7467" y="800"/>
                </a:lnTo>
                <a:cubicBezTo>
                  <a:pt x="6878" y="800"/>
                  <a:pt x="6400" y="1159"/>
                  <a:pt x="6400" y="1600"/>
                </a:cubicBezTo>
                <a:cubicBezTo>
                  <a:pt x="6400" y="1159"/>
                  <a:pt x="5923" y="800"/>
                  <a:pt x="5334" y="800"/>
                </a:cubicBezTo>
                <a:lnTo>
                  <a:pt x="1067" y="800"/>
                </a:lnTo>
                <a:cubicBezTo>
                  <a:pt x="478" y="800"/>
                  <a:pt x="0" y="442"/>
                  <a:pt x="0" y="0"/>
                </a:cubicBezTo>
              </a:path>
            </a:pathLst>
          </a:custGeom>
          <a:noFill/>
          <a:ln w="30163" cap="rnd">
            <a:solidFill>
              <a:srgbClr val="80808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Ubuntu"/>
              <a:ea typeface="ＭＳ Ｐゴシック" pitchFamily="34" charset="-128"/>
              <a:cs typeface="+mn-cs"/>
            </a:endParaRPr>
          </a:p>
        </p:txBody>
      </p:sp>
      <p:sp>
        <p:nvSpPr>
          <p:cNvPr id="23" name="Rectangle 282">
            <a:extLst>
              <a:ext uri="{FF2B5EF4-FFF2-40B4-BE49-F238E27FC236}">
                <a16:creationId xmlns:a16="http://schemas.microsoft.com/office/drawing/2014/main" id="{C1F23C8F-D0D6-2BE8-36BB-7E7E2BB34C56}"/>
              </a:ext>
            </a:extLst>
          </p:cNvPr>
          <p:cNvSpPr>
            <a:spLocks noChangeArrowheads="1"/>
          </p:cNvSpPr>
          <p:nvPr/>
        </p:nvSpPr>
        <p:spPr bwMode="auto">
          <a:xfrm>
            <a:off x="9462017" y="4622047"/>
            <a:ext cx="2194560"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a:ea typeface="ＭＳ Ｐゴシック" pitchFamily="34" charset="-128"/>
                <a:cs typeface="Arial" charset="0"/>
              </a:rPr>
              <a:t>Deliverables</a:t>
            </a:r>
          </a:p>
        </p:txBody>
      </p:sp>
      <p:sp>
        <p:nvSpPr>
          <p:cNvPr id="24" name="Rectangle 282">
            <a:extLst>
              <a:ext uri="{FF2B5EF4-FFF2-40B4-BE49-F238E27FC236}">
                <a16:creationId xmlns:a16="http://schemas.microsoft.com/office/drawing/2014/main" id="{0DDAFA44-4054-9D63-59C4-DC1BB3BEFEDE}"/>
              </a:ext>
            </a:extLst>
          </p:cNvPr>
          <p:cNvSpPr>
            <a:spLocks noChangeArrowheads="1"/>
          </p:cNvSpPr>
          <p:nvPr/>
        </p:nvSpPr>
        <p:spPr bwMode="auto">
          <a:xfrm>
            <a:off x="7165045" y="4622047"/>
            <a:ext cx="2194560"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a:ea typeface="ＭＳ Ｐゴシック" pitchFamily="34" charset="-128"/>
                <a:cs typeface="Arial" charset="0"/>
              </a:rPr>
              <a:t>Deliverables</a:t>
            </a:r>
          </a:p>
        </p:txBody>
      </p:sp>
      <p:sp>
        <p:nvSpPr>
          <p:cNvPr id="25" name="Rectangle 282">
            <a:extLst>
              <a:ext uri="{FF2B5EF4-FFF2-40B4-BE49-F238E27FC236}">
                <a16:creationId xmlns:a16="http://schemas.microsoft.com/office/drawing/2014/main" id="{9CCC0E63-5619-D414-746D-241E353A9CFC}"/>
              </a:ext>
            </a:extLst>
          </p:cNvPr>
          <p:cNvSpPr>
            <a:spLocks noChangeArrowheads="1"/>
          </p:cNvSpPr>
          <p:nvPr/>
        </p:nvSpPr>
        <p:spPr bwMode="auto">
          <a:xfrm>
            <a:off x="4868074" y="4622047"/>
            <a:ext cx="2194560"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a:ea typeface="ＭＳ Ｐゴシック" pitchFamily="34" charset="-128"/>
                <a:cs typeface="Arial" charset="0"/>
              </a:rPr>
              <a:t>Deliverables</a:t>
            </a:r>
          </a:p>
        </p:txBody>
      </p:sp>
      <p:sp>
        <p:nvSpPr>
          <p:cNvPr id="26" name="Rectangle 282">
            <a:extLst>
              <a:ext uri="{FF2B5EF4-FFF2-40B4-BE49-F238E27FC236}">
                <a16:creationId xmlns:a16="http://schemas.microsoft.com/office/drawing/2014/main" id="{B7317674-D265-65C9-ABCA-14B1841C378B}"/>
              </a:ext>
            </a:extLst>
          </p:cNvPr>
          <p:cNvSpPr>
            <a:spLocks noChangeArrowheads="1"/>
          </p:cNvSpPr>
          <p:nvPr/>
        </p:nvSpPr>
        <p:spPr bwMode="auto">
          <a:xfrm>
            <a:off x="2571103" y="4622047"/>
            <a:ext cx="2194560"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a:ea typeface="ＭＳ Ｐゴシック" pitchFamily="34" charset="-128"/>
                <a:cs typeface="Arial" charset="0"/>
              </a:rPr>
              <a:t>Deliverables</a:t>
            </a:r>
          </a:p>
        </p:txBody>
      </p:sp>
      <p:sp>
        <p:nvSpPr>
          <p:cNvPr id="27" name="AutoShape 263">
            <a:extLst>
              <a:ext uri="{FF2B5EF4-FFF2-40B4-BE49-F238E27FC236}">
                <a16:creationId xmlns:a16="http://schemas.microsoft.com/office/drawing/2014/main" id="{363F2A89-BE42-A635-CBC8-1A4CE69D1DC1}"/>
              </a:ext>
            </a:extLst>
          </p:cNvPr>
          <p:cNvSpPr>
            <a:spLocks noChangeArrowheads="1"/>
          </p:cNvSpPr>
          <p:nvPr/>
        </p:nvSpPr>
        <p:spPr bwMode="auto">
          <a:xfrm>
            <a:off x="7165045" y="5044264"/>
            <a:ext cx="2194560" cy="487313"/>
          </a:xfrm>
          <a:prstGeom prst="roundRect">
            <a:avLst>
              <a:gd name="adj" fmla="val 0"/>
            </a:avLst>
          </a:prstGeom>
          <a:noFill/>
          <a:ln w="9525" algn="ctr">
            <a:noFill/>
            <a:miter lim="800000"/>
            <a:headEnd/>
            <a:tailEnd/>
          </a:ln>
        </p:spPr>
        <p:txBody>
          <a:bodyPr>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Test result</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Defect report</a:t>
            </a:r>
          </a:p>
        </p:txBody>
      </p:sp>
      <p:sp>
        <p:nvSpPr>
          <p:cNvPr id="28" name="AutoShape 269">
            <a:extLst>
              <a:ext uri="{FF2B5EF4-FFF2-40B4-BE49-F238E27FC236}">
                <a16:creationId xmlns:a16="http://schemas.microsoft.com/office/drawing/2014/main" id="{B7664D11-648D-4036-7856-646CBC3A6900}"/>
              </a:ext>
            </a:extLst>
          </p:cNvPr>
          <p:cNvSpPr>
            <a:spLocks noChangeArrowheads="1"/>
          </p:cNvSpPr>
          <p:nvPr/>
        </p:nvSpPr>
        <p:spPr bwMode="auto">
          <a:xfrm>
            <a:off x="4868074" y="5044264"/>
            <a:ext cx="2194560" cy="1066959"/>
          </a:xfrm>
          <a:prstGeom prst="roundRect">
            <a:avLst>
              <a:gd name="adj" fmla="val 0"/>
            </a:avLst>
          </a:prstGeom>
          <a:noFill/>
          <a:ln w="9525" algn="ctr">
            <a:noFill/>
            <a:miter lim="800000"/>
            <a:headEnd/>
            <a:tailEnd/>
          </a:ln>
        </p:spPr>
        <p:txBody>
          <a:bodyPr>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A highly reusable component-based framework </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Automated test scripts</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endPar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endParaRPr>
          </a:p>
        </p:txBody>
      </p:sp>
      <p:sp>
        <p:nvSpPr>
          <p:cNvPr id="29" name="AutoShape 281">
            <a:extLst>
              <a:ext uri="{FF2B5EF4-FFF2-40B4-BE49-F238E27FC236}">
                <a16:creationId xmlns:a16="http://schemas.microsoft.com/office/drawing/2014/main" id="{672CC275-A0F0-9BC9-E518-F4FBEBA527CB}"/>
              </a:ext>
            </a:extLst>
          </p:cNvPr>
          <p:cNvSpPr>
            <a:spLocks noChangeArrowheads="1"/>
          </p:cNvSpPr>
          <p:nvPr/>
        </p:nvSpPr>
        <p:spPr bwMode="auto">
          <a:xfrm>
            <a:off x="283079" y="4508477"/>
            <a:ext cx="2194560" cy="856645"/>
          </a:xfrm>
          <a:prstGeom prst="roundRect">
            <a:avLst>
              <a:gd name="adj" fmla="val 0"/>
            </a:avLst>
          </a:prstGeom>
          <a:noFill/>
          <a:ln w="9525" algn="ctr">
            <a:noFill/>
            <a:miter lim="800000"/>
            <a:headEnd/>
            <a:tailEnd/>
          </a:ln>
        </p:spPr>
        <p:txBody>
          <a:bodyPr>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Application Access</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Environment access and Automation Tool setup is completed</a:t>
            </a:r>
          </a:p>
        </p:txBody>
      </p:sp>
      <p:sp>
        <p:nvSpPr>
          <p:cNvPr id="30" name="AutoShape 263">
            <a:extLst>
              <a:ext uri="{FF2B5EF4-FFF2-40B4-BE49-F238E27FC236}">
                <a16:creationId xmlns:a16="http://schemas.microsoft.com/office/drawing/2014/main" id="{8DBF151A-3E25-AB54-21F0-30CBAB79EDF9}"/>
              </a:ext>
            </a:extLst>
          </p:cNvPr>
          <p:cNvSpPr>
            <a:spLocks noChangeArrowheads="1"/>
          </p:cNvSpPr>
          <p:nvPr/>
        </p:nvSpPr>
        <p:spPr bwMode="auto">
          <a:xfrm>
            <a:off x="9462017" y="5044264"/>
            <a:ext cx="2194560" cy="882293"/>
          </a:xfrm>
          <a:prstGeom prst="roundRect">
            <a:avLst>
              <a:gd name="adj" fmla="val 0"/>
            </a:avLst>
          </a:prstGeom>
          <a:noFill/>
          <a:ln w="9525" algn="ctr">
            <a:noFill/>
            <a:miter lim="800000"/>
            <a:headEnd/>
            <a:tailEnd/>
          </a:ln>
        </p:spPr>
        <p:txBody>
          <a:bodyPr>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Run book</a:t>
            </a:r>
          </a:p>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Closure Report and Recommendations</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endPar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endParaRPr>
          </a:p>
        </p:txBody>
      </p:sp>
      <p:cxnSp>
        <p:nvCxnSpPr>
          <p:cNvPr id="31" name="Straight Connector 30">
            <a:extLst>
              <a:ext uri="{FF2B5EF4-FFF2-40B4-BE49-F238E27FC236}">
                <a16:creationId xmlns:a16="http://schemas.microsoft.com/office/drawing/2014/main" id="{1AF28D2E-9A89-759D-8ADE-4DDD2A603FBA}"/>
              </a:ext>
            </a:extLst>
          </p:cNvPr>
          <p:cNvCxnSpPr>
            <a:cxnSpLocks/>
            <a:stCxn id="17" idx="1"/>
          </p:cNvCxnSpPr>
          <p:nvPr/>
        </p:nvCxnSpPr>
        <p:spPr>
          <a:xfrm>
            <a:off x="274131" y="4196406"/>
            <a:ext cx="0" cy="1874721"/>
          </a:xfrm>
          <a:prstGeom prst="line">
            <a:avLst/>
          </a:prstGeom>
          <a:noFill/>
          <a:ln w="12700" cap="flat" cmpd="sng" algn="ctr">
            <a:solidFill>
              <a:srgbClr val="12ABDB"/>
            </a:solidFill>
            <a:prstDash val="dash"/>
            <a:miter lim="800000"/>
          </a:ln>
          <a:effectLst/>
        </p:spPr>
      </p:cxnSp>
      <p:grpSp>
        <p:nvGrpSpPr>
          <p:cNvPr id="32" name="Group 31">
            <a:extLst>
              <a:ext uri="{FF2B5EF4-FFF2-40B4-BE49-F238E27FC236}">
                <a16:creationId xmlns:a16="http://schemas.microsoft.com/office/drawing/2014/main" id="{5614CB16-C753-9F1D-7A44-9EB9B4AD783E}"/>
              </a:ext>
            </a:extLst>
          </p:cNvPr>
          <p:cNvGrpSpPr/>
          <p:nvPr/>
        </p:nvGrpSpPr>
        <p:grpSpPr>
          <a:xfrm>
            <a:off x="2571103" y="4622047"/>
            <a:ext cx="6890914" cy="1374707"/>
            <a:chOff x="2552631" y="4769831"/>
            <a:chExt cx="6890914" cy="1580169"/>
          </a:xfrm>
        </p:grpSpPr>
        <p:cxnSp>
          <p:nvCxnSpPr>
            <p:cNvPr id="33" name="Straight Connector 32">
              <a:extLst>
                <a:ext uri="{FF2B5EF4-FFF2-40B4-BE49-F238E27FC236}">
                  <a16:creationId xmlns:a16="http://schemas.microsoft.com/office/drawing/2014/main" id="{FA3724D3-E1DF-7CC3-348B-A7F6E98E850A}"/>
                </a:ext>
              </a:extLst>
            </p:cNvPr>
            <p:cNvCxnSpPr/>
            <p:nvPr/>
          </p:nvCxnSpPr>
          <p:spPr>
            <a:xfrm>
              <a:off x="2552631" y="4769831"/>
              <a:ext cx="0" cy="1580169"/>
            </a:xfrm>
            <a:prstGeom prst="line">
              <a:avLst/>
            </a:prstGeom>
            <a:noFill/>
            <a:ln w="12700" cap="flat" cmpd="sng" algn="ctr">
              <a:solidFill>
                <a:srgbClr val="12ABDB"/>
              </a:solidFill>
              <a:prstDash val="dash"/>
              <a:miter lim="800000"/>
            </a:ln>
            <a:effectLst/>
          </p:spPr>
        </p:cxnSp>
        <p:cxnSp>
          <p:nvCxnSpPr>
            <p:cNvPr id="34" name="Straight Connector 33">
              <a:extLst>
                <a:ext uri="{FF2B5EF4-FFF2-40B4-BE49-F238E27FC236}">
                  <a16:creationId xmlns:a16="http://schemas.microsoft.com/office/drawing/2014/main" id="{F82588D1-537D-50B3-E318-A8C1F9D62CEC}"/>
                </a:ext>
              </a:extLst>
            </p:cNvPr>
            <p:cNvCxnSpPr/>
            <p:nvPr/>
          </p:nvCxnSpPr>
          <p:spPr>
            <a:xfrm>
              <a:off x="4849602" y="4769831"/>
              <a:ext cx="0" cy="1580169"/>
            </a:xfrm>
            <a:prstGeom prst="line">
              <a:avLst/>
            </a:prstGeom>
            <a:noFill/>
            <a:ln w="12700" cap="flat" cmpd="sng" algn="ctr">
              <a:solidFill>
                <a:srgbClr val="12ABDB"/>
              </a:solidFill>
              <a:prstDash val="dash"/>
              <a:miter lim="800000"/>
            </a:ln>
            <a:effectLst/>
          </p:spPr>
        </p:cxnSp>
        <p:cxnSp>
          <p:nvCxnSpPr>
            <p:cNvPr id="35" name="Straight Connector 34">
              <a:extLst>
                <a:ext uri="{FF2B5EF4-FFF2-40B4-BE49-F238E27FC236}">
                  <a16:creationId xmlns:a16="http://schemas.microsoft.com/office/drawing/2014/main" id="{69943EF4-D1DB-5A3E-C288-B29E56EBDDAF}"/>
                </a:ext>
              </a:extLst>
            </p:cNvPr>
            <p:cNvCxnSpPr/>
            <p:nvPr/>
          </p:nvCxnSpPr>
          <p:spPr>
            <a:xfrm>
              <a:off x="7131504" y="4769831"/>
              <a:ext cx="0" cy="1580169"/>
            </a:xfrm>
            <a:prstGeom prst="line">
              <a:avLst/>
            </a:prstGeom>
            <a:noFill/>
            <a:ln w="12700" cap="flat" cmpd="sng" algn="ctr">
              <a:solidFill>
                <a:srgbClr val="12ABDB"/>
              </a:solidFill>
              <a:prstDash val="dash"/>
              <a:miter lim="800000"/>
            </a:ln>
            <a:effectLst/>
          </p:spPr>
        </p:cxnSp>
        <p:cxnSp>
          <p:nvCxnSpPr>
            <p:cNvPr id="36" name="Straight Connector 35">
              <a:extLst>
                <a:ext uri="{FF2B5EF4-FFF2-40B4-BE49-F238E27FC236}">
                  <a16:creationId xmlns:a16="http://schemas.microsoft.com/office/drawing/2014/main" id="{EC42AB8F-03F4-B735-7CDF-4A6431BDC6ED}"/>
                </a:ext>
              </a:extLst>
            </p:cNvPr>
            <p:cNvCxnSpPr/>
            <p:nvPr/>
          </p:nvCxnSpPr>
          <p:spPr>
            <a:xfrm>
              <a:off x="9443545" y="4769831"/>
              <a:ext cx="0" cy="1580169"/>
            </a:xfrm>
            <a:prstGeom prst="line">
              <a:avLst/>
            </a:prstGeom>
            <a:noFill/>
            <a:ln w="12700" cap="flat" cmpd="sng" algn="ctr">
              <a:solidFill>
                <a:srgbClr val="12ABDB"/>
              </a:solidFill>
              <a:prstDash val="dash"/>
              <a:miter lim="800000"/>
            </a:ln>
            <a:effectLst/>
          </p:spPr>
        </p:cxnSp>
      </p:grpSp>
      <p:sp>
        <p:nvSpPr>
          <p:cNvPr id="37" name="Title 1">
            <a:extLst>
              <a:ext uri="{FF2B5EF4-FFF2-40B4-BE49-F238E27FC236}">
                <a16:creationId xmlns:a16="http://schemas.microsoft.com/office/drawing/2014/main" id="{84F1E551-6E86-4DE1-5EC7-E62C36D858E6}"/>
              </a:ext>
            </a:extLst>
          </p:cNvPr>
          <p:cNvSpPr txBox="1">
            <a:spLocks/>
          </p:cNvSpPr>
          <p:nvPr/>
        </p:nvSpPr>
        <p:spPr>
          <a:xfrm>
            <a:off x="364936" y="250829"/>
            <a:ext cx="11009685" cy="387798"/>
          </a:xfrm>
          <a:prstGeom prst="rect">
            <a:avLst/>
          </a:prstGeom>
        </p:spPr>
        <p:txBody>
          <a:bodyPr vert="horz" lIns="0" tIns="0" rIns="0" bIns="0" rtlCol="0" anchor="ctr"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1" i="0" u="none" strike="noStrike" kern="1200" cap="none" spc="0" normalizeH="0" baseline="0" noProof="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2800" b="1" i="0" u="none" strike="noStrike" kern="1200" cap="all" spc="0" normalizeH="0" baseline="0" noProof="0" dirty="0" err="1">
                <a:ln>
                  <a:noFill/>
                </a:ln>
                <a:solidFill>
                  <a:srgbClr val="0070AD"/>
                </a:solidFill>
                <a:effectLst/>
                <a:uLnTx/>
                <a:uFillTx/>
                <a:latin typeface="Ubuntu"/>
                <a:ea typeface="+mj-ea"/>
                <a:cs typeface="+mj-cs"/>
              </a:rPr>
              <a:t>Alm</a:t>
            </a:r>
            <a:r>
              <a:rPr kumimoji="0" lang="en-IN" sz="2800" b="1" i="0" u="none" strike="noStrike" kern="1200" cap="all" spc="0" normalizeH="0" baseline="0" noProof="0" dirty="0">
                <a:ln>
                  <a:noFill/>
                </a:ln>
                <a:solidFill>
                  <a:srgbClr val="0070AD"/>
                </a:solidFill>
                <a:effectLst/>
                <a:uLnTx/>
                <a:uFillTx/>
                <a:latin typeface="Ubuntu"/>
                <a:ea typeface="+mj-ea"/>
                <a:cs typeface="+mj-cs"/>
              </a:rPr>
              <a:t> Administration		-	In progress</a:t>
            </a:r>
          </a:p>
        </p:txBody>
      </p:sp>
      <p:sp>
        <p:nvSpPr>
          <p:cNvPr id="2" name="Rectangle 282">
            <a:extLst>
              <a:ext uri="{FF2B5EF4-FFF2-40B4-BE49-F238E27FC236}">
                <a16:creationId xmlns:a16="http://schemas.microsoft.com/office/drawing/2014/main" id="{E75DBFE1-75B7-5A61-6A84-0958D2F105ED}"/>
              </a:ext>
            </a:extLst>
          </p:cNvPr>
          <p:cNvSpPr>
            <a:spLocks noChangeArrowheads="1"/>
          </p:cNvSpPr>
          <p:nvPr/>
        </p:nvSpPr>
        <p:spPr bwMode="auto">
          <a:xfrm>
            <a:off x="274035" y="5287920"/>
            <a:ext cx="2127705"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N" sz="1400" b="1" i="0" u="none" strike="noStrike" kern="0" cap="none" spc="0" normalizeH="0" baseline="0" noProof="0" dirty="0">
                <a:ln>
                  <a:noFill/>
                </a:ln>
                <a:solidFill>
                  <a:prstClr val="white"/>
                </a:solidFill>
                <a:effectLst/>
                <a:uLnTx/>
                <a:uFillTx/>
                <a:latin typeface="Ubuntu"/>
                <a:ea typeface="ＭＳ Ｐゴシック" pitchFamily="34" charset="-128"/>
                <a:cs typeface="Arial" charset="0"/>
              </a:rPr>
              <a:t>Value proportion </a:t>
            </a:r>
            <a:endParaRPr kumimoji="0" lang="en-US" sz="1400" b="1" i="0" u="none" strike="noStrike" kern="0" cap="none" spc="0" normalizeH="0" baseline="0" noProof="0" dirty="0">
              <a:ln>
                <a:noFill/>
              </a:ln>
              <a:solidFill>
                <a:prstClr val="white"/>
              </a:solidFill>
              <a:effectLst/>
              <a:uLnTx/>
              <a:uFillTx/>
              <a:latin typeface="Ubuntu"/>
              <a:ea typeface="ＭＳ Ｐゴシック" pitchFamily="34" charset="-128"/>
              <a:cs typeface="Arial" charset="0"/>
            </a:endParaRPr>
          </a:p>
        </p:txBody>
      </p:sp>
    </p:spTree>
    <p:extLst>
      <p:ext uri="{BB962C8B-B14F-4D97-AF65-F5344CB8AC3E}">
        <p14:creationId xmlns:p14="http://schemas.microsoft.com/office/powerpoint/2010/main" val="20341773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205">
            <a:extLst>
              <a:ext uri="{FF2B5EF4-FFF2-40B4-BE49-F238E27FC236}">
                <a16:creationId xmlns:a16="http://schemas.microsoft.com/office/drawing/2014/main" id="{AC1A1AFD-F556-ED65-C7AA-E700D54DC6B6}"/>
              </a:ext>
            </a:extLst>
          </p:cNvPr>
          <p:cNvSpPr txBox="1">
            <a:spLocks noChangeArrowheads="1"/>
          </p:cNvSpPr>
          <p:nvPr/>
        </p:nvSpPr>
        <p:spPr bwMode="auto">
          <a:xfrm>
            <a:off x="939194" y="1465428"/>
            <a:ext cx="2194560" cy="246221"/>
          </a:xfrm>
          <a:prstGeom prst="rect">
            <a:avLst/>
          </a:prstGeom>
          <a:noFill/>
          <a:ln w="12700" algn="ctr">
            <a:noFill/>
            <a:miter lim="800000"/>
            <a:headEnd/>
            <a:tailEnd/>
          </a:ln>
        </p:spPr>
        <p:txBody>
          <a:bodyP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CA" sz="1000" b="1" i="0" u="none" strike="noStrike" kern="1200" cap="none" spc="0" normalizeH="0" baseline="0" noProof="0">
              <a:ln>
                <a:noFill/>
              </a:ln>
              <a:solidFill>
                <a:prstClr val="black"/>
              </a:solidFill>
              <a:effectLst/>
              <a:uLnTx/>
              <a:uFillTx/>
              <a:latin typeface="Ubuntu"/>
              <a:ea typeface="ＭＳ Ｐゴシック" pitchFamily="34" charset="-128"/>
              <a:cs typeface="Arial" charset="0"/>
            </a:endParaRPr>
          </a:p>
        </p:txBody>
      </p:sp>
      <p:sp>
        <p:nvSpPr>
          <p:cNvPr id="4" name="AutoShape 220">
            <a:extLst>
              <a:ext uri="{FF2B5EF4-FFF2-40B4-BE49-F238E27FC236}">
                <a16:creationId xmlns:a16="http://schemas.microsoft.com/office/drawing/2014/main" id="{9B8DC436-2125-3671-13FE-828B01B13B49}"/>
              </a:ext>
            </a:extLst>
          </p:cNvPr>
          <p:cNvSpPr>
            <a:spLocks noChangeArrowheads="1"/>
          </p:cNvSpPr>
          <p:nvPr/>
        </p:nvSpPr>
        <p:spPr bwMode="auto">
          <a:xfrm>
            <a:off x="9462017" y="1337457"/>
            <a:ext cx="2560320" cy="692727"/>
          </a:xfrm>
          <a:prstGeom prst="chevron">
            <a:avLst>
              <a:gd name="adj" fmla="val 56818"/>
            </a:avLst>
          </a:prstGeom>
          <a:solidFill>
            <a:srgbClr val="000000"/>
          </a:solidFill>
          <a:ln w="3175">
            <a:noFill/>
            <a:miter lim="800000"/>
            <a:headEnd/>
            <a:tailEnd/>
          </a:ln>
          <a:effectLst/>
        </p:spPr>
        <p:txBody>
          <a:bodyPr wrap="square" lIns="0" r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Ubuntu"/>
                <a:ea typeface="+mn-ea"/>
                <a:cs typeface="+mn-cs"/>
              </a:rPr>
              <a:t>Handover and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Ubuntu"/>
                <a:ea typeface="+mn-ea"/>
                <a:cs typeface="+mn-cs"/>
              </a:rPr>
              <a:t>Continuous Improvement</a:t>
            </a:r>
          </a:p>
        </p:txBody>
      </p:sp>
      <p:sp>
        <p:nvSpPr>
          <p:cNvPr id="5" name="AutoShape 220">
            <a:extLst>
              <a:ext uri="{FF2B5EF4-FFF2-40B4-BE49-F238E27FC236}">
                <a16:creationId xmlns:a16="http://schemas.microsoft.com/office/drawing/2014/main" id="{25ED9804-0DA3-8E1C-6C57-DCA468B70F19}"/>
              </a:ext>
            </a:extLst>
          </p:cNvPr>
          <p:cNvSpPr>
            <a:spLocks noChangeArrowheads="1"/>
          </p:cNvSpPr>
          <p:nvPr/>
        </p:nvSpPr>
        <p:spPr bwMode="auto">
          <a:xfrm>
            <a:off x="7165045" y="1337457"/>
            <a:ext cx="2560320" cy="692727"/>
          </a:xfrm>
          <a:prstGeom prst="chevron">
            <a:avLst>
              <a:gd name="adj" fmla="val 56818"/>
            </a:avLst>
          </a:prstGeom>
          <a:solidFill>
            <a:srgbClr val="000000"/>
          </a:solidFill>
          <a:ln w="3175">
            <a:noFill/>
            <a:miter lim="800000"/>
            <a:headEnd/>
            <a:tailEnd/>
          </a:ln>
          <a:effectLst/>
        </p:spPr>
        <p:txBody>
          <a:bodyPr wrap="square" lIns="0" r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a:ea typeface="+mn-ea"/>
                <a:cs typeface="+mn-cs"/>
              </a:rPr>
              <a:t>Execution </a:t>
            </a:r>
          </a:p>
        </p:txBody>
      </p:sp>
      <p:sp>
        <p:nvSpPr>
          <p:cNvPr id="6" name="AutoShape 220">
            <a:extLst>
              <a:ext uri="{FF2B5EF4-FFF2-40B4-BE49-F238E27FC236}">
                <a16:creationId xmlns:a16="http://schemas.microsoft.com/office/drawing/2014/main" id="{93A6927F-7F83-D230-D775-80C2C82233DA}"/>
              </a:ext>
            </a:extLst>
          </p:cNvPr>
          <p:cNvSpPr>
            <a:spLocks noChangeArrowheads="1"/>
          </p:cNvSpPr>
          <p:nvPr/>
        </p:nvSpPr>
        <p:spPr bwMode="auto">
          <a:xfrm>
            <a:off x="4868074" y="1337457"/>
            <a:ext cx="2560320" cy="692727"/>
          </a:xfrm>
          <a:prstGeom prst="chevron">
            <a:avLst>
              <a:gd name="adj" fmla="val 56818"/>
            </a:avLst>
          </a:prstGeom>
          <a:solidFill>
            <a:srgbClr val="000000"/>
          </a:solidFill>
          <a:ln w="3175">
            <a:noFill/>
            <a:miter lim="800000"/>
            <a:headEnd/>
            <a:tailEnd/>
          </a:ln>
          <a:effectLst/>
        </p:spPr>
        <p:txBody>
          <a:bodyPr wrap="square" lIns="0" r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a:ea typeface="+mn-ea"/>
                <a:cs typeface="+mn-cs"/>
              </a:rPr>
              <a:t>Design</a:t>
            </a:r>
          </a:p>
        </p:txBody>
      </p:sp>
      <p:sp>
        <p:nvSpPr>
          <p:cNvPr id="7" name="AutoShape 220">
            <a:extLst>
              <a:ext uri="{FF2B5EF4-FFF2-40B4-BE49-F238E27FC236}">
                <a16:creationId xmlns:a16="http://schemas.microsoft.com/office/drawing/2014/main" id="{A95DF906-2EDB-6116-54A8-BD97C8DF2AFC}"/>
              </a:ext>
            </a:extLst>
          </p:cNvPr>
          <p:cNvSpPr>
            <a:spLocks noChangeArrowheads="1"/>
          </p:cNvSpPr>
          <p:nvPr/>
        </p:nvSpPr>
        <p:spPr bwMode="auto">
          <a:xfrm>
            <a:off x="274132" y="1337457"/>
            <a:ext cx="2560320" cy="692727"/>
          </a:xfrm>
          <a:prstGeom prst="chevron">
            <a:avLst>
              <a:gd name="adj" fmla="val 56818"/>
            </a:avLst>
          </a:prstGeom>
          <a:solidFill>
            <a:srgbClr val="000000"/>
          </a:solidFill>
          <a:ln w="3175">
            <a:noFill/>
            <a:miter lim="800000"/>
            <a:headEnd/>
            <a:tailEnd/>
          </a:ln>
          <a:effectLst/>
        </p:spPr>
        <p:txBody>
          <a:bodyPr wrap="square" lIns="0" r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a:ea typeface="+mn-ea"/>
                <a:cs typeface="+mn-cs"/>
              </a:rPr>
              <a:t>Environment Setup and Access</a:t>
            </a:r>
          </a:p>
        </p:txBody>
      </p:sp>
      <p:sp>
        <p:nvSpPr>
          <p:cNvPr id="8" name="AutoShape 220">
            <a:extLst>
              <a:ext uri="{FF2B5EF4-FFF2-40B4-BE49-F238E27FC236}">
                <a16:creationId xmlns:a16="http://schemas.microsoft.com/office/drawing/2014/main" id="{E57FB08C-0A01-F03F-750A-595CD936820C}"/>
              </a:ext>
            </a:extLst>
          </p:cNvPr>
          <p:cNvSpPr>
            <a:spLocks noChangeArrowheads="1"/>
          </p:cNvSpPr>
          <p:nvPr/>
        </p:nvSpPr>
        <p:spPr bwMode="auto">
          <a:xfrm>
            <a:off x="2571103" y="1337457"/>
            <a:ext cx="2560320" cy="692727"/>
          </a:xfrm>
          <a:prstGeom prst="chevron">
            <a:avLst>
              <a:gd name="adj" fmla="val 56818"/>
            </a:avLst>
          </a:prstGeom>
          <a:solidFill>
            <a:srgbClr val="000000"/>
          </a:solidFill>
          <a:ln w="3175">
            <a:noFill/>
            <a:miter lim="800000"/>
            <a:headEnd/>
            <a:tailEnd/>
          </a:ln>
          <a:effectLst/>
        </p:spPr>
        <p:txBody>
          <a:bodyPr wrap="square" lIns="0" r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a:ea typeface="+mn-ea"/>
                <a:cs typeface="+mn-cs"/>
              </a:rPr>
              <a:t>Planning and KT</a:t>
            </a:r>
          </a:p>
        </p:txBody>
      </p:sp>
      <p:sp>
        <p:nvSpPr>
          <p:cNvPr id="10" name="Text Box 194">
            <a:extLst>
              <a:ext uri="{FF2B5EF4-FFF2-40B4-BE49-F238E27FC236}">
                <a16:creationId xmlns:a16="http://schemas.microsoft.com/office/drawing/2014/main" id="{879DB478-13B6-B5A2-E575-153D09E8930D}"/>
              </a:ext>
            </a:extLst>
          </p:cNvPr>
          <p:cNvSpPr txBox="1">
            <a:spLocks noChangeArrowheads="1"/>
          </p:cNvSpPr>
          <p:nvPr/>
        </p:nvSpPr>
        <p:spPr bwMode="auto">
          <a:xfrm>
            <a:off x="274132" y="2060878"/>
            <a:ext cx="2194560" cy="2377440"/>
          </a:xfrm>
          <a:prstGeom prst="rect">
            <a:avLst/>
          </a:prstGeom>
          <a:solidFill>
            <a:srgbClr val="ECECEC"/>
          </a:solidFill>
          <a:ln w="9525" algn="ctr">
            <a:noFill/>
            <a:miter lim="800000"/>
            <a:headEnd/>
            <a:tailEnd/>
          </a:ln>
        </p:spPr>
        <p:txBody>
          <a:bodyPr/>
          <a:lstStyle>
            <a:defPPr>
              <a:defRPr lang="en-US"/>
            </a:defPPr>
            <a:lvl1pPr marL="114300" indent="-114300" fontAlgn="base">
              <a:spcBef>
                <a:spcPct val="30000"/>
              </a:spcBef>
              <a:spcAft>
                <a:spcPct val="0"/>
              </a:spcAft>
              <a:buClr>
                <a:srgbClr val="1EA3D2"/>
              </a:buClr>
              <a:buFont typeface="Wingdings" pitchFamily="2" charset="2"/>
              <a:buChar char="§"/>
              <a:defRPr sz="1000">
                <a:solidFill>
                  <a:prstClr val="black"/>
                </a:solidFill>
                <a:latin typeface="Candara" panose="020E0502030303020204" pitchFamily="34" charset="0"/>
                <a:ea typeface="ＭＳ Ｐゴシック" pitchFamily="34" charset="-128"/>
                <a:cs typeface="Times New Roman" pitchFamily="18" charset="0"/>
              </a:defRPr>
            </a:lvl1p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EventVision Application access request</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Setup environment for Test Automation</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Installation of  Robot Framework, Python  and other Automation Tool</a:t>
            </a:r>
            <a:endPar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Times New Roman" pitchFamily="18" charset="0"/>
            </a:endParaRP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endPar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Times New Roman" pitchFamily="18" charset="0"/>
            </a:endParaRPr>
          </a:p>
        </p:txBody>
      </p:sp>
      <p:sp>
        <p:nvSpPr>
          <p:cNvPr id="11" name="Text Box 195">
            <a:extLst>
              <a:ext uri="{FF2B5EF4-FFF2-40B4-BE49-F238E27FC236}">
                <a16:creationId xmlns:a16="http://schemas.microsoft.com/office/drawing/2014/main" id="{26D108BB-0FBD-E31B-B257-8963FD142447}"/>
              </a:ext>
            </a:extLst>
          </p:cNvPr>
          <p:cNvSpPr txBox="1">
            <a:spLocks noChangeArrowheads="1"/>
          </p:cNvSpPr>
          <p:nvPr/>
        </p:nvSpPr>
        <p:spPr bwMode="auto">
          <a:xfrm>
            <a:off x="2571103" y="2060878"/>
            <a:ext cx="2194560" cy="2377440"/>
          </a:xfrm>
          <a:prstGeom prst="rect">
            <a:avLst/>
          </a:prstGeom>
          <a:solidFill>
            <a:srgbClr val="ECECEC"/>
          </a:solidFill>
          <a:ln w="9525" algn="ctr">
            <a:noFill/>
            <a:miter lim="800000"/>
            <a:headEnd/>
            <a:tailEnd/>
          </a:ln>
        </p:spPr>
        <p:txBody>
          <a:bodyPr/>
          <a:lstStyle>
            <a:defPPr>
              <a:defRPr lang="en-US"/>
            </a:defPPr>
            <a:lvl1pPr marL="114300" indent="-114300" fontAlgn="base">
              <a:spcBef>
                <a:spcPct val="30000"/>
              </a:spcBef>
              <a:spcAft>
                <a:spcPct val="0"/>
              </a:spcAft>
              <a:buClr>
                <a:srgbClr val="1EA3D2"/>
              </a:buClr>
              <a:buFont typeface="Wingdings" pitchFamily="2" charset="2"/>
              <a:buChar char="§"/>
              <a:defRPr sz="1000">
                <a:solidFill>
                  <a:prstClr val="black"/>
                </a:solidFill>
                <a:latin typeface="Candara" panose="020E0502030303020204" pitchFamily="34" charset="0"/>
                <a:ea typeface="ＭＳ Ｐゴシック" pitchFamily="34" charset="-128"/>
                <a:cs typeface="Times New Roman" pitchFamily="18" charset="0"/>
              </a:defRPr>
            </a:lvl1p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Create Automation Strategy and Plan</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KT and scope understanding with existing stakeholders</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Identification of the Regression Test cases as candidates for Test Automation</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Provision of Test data	</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endPar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endPar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endPar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p:txBody>
      </p:sp>
      <p:sp>
        <p:nvSpPr>
          <p:cNvPr id="12" name="Text Box 196">
            <a:extLst>
              <a:ext uri="{FF2B5EF4-FFF2-40B4-BE49-F238E27FC236}">
                <a16:creationId xmlns:a16="http://schemas.microsoft.com/office/drawing/2014/main" id="{0A5D624D-4FC8-6F83-B783-E53C99DCA963}"/>
              </a:ext>
            </a:extLst>
          </p:cNvPr>
          <p:cNvSpPr txBox="1">
            <a:spLocks noChangeArrowheads="1"/>
          </p:cNvSpPr>
          <p:nvPr/>
        </p:nvSpPr>
        <p:spPr bwMode="auto">
          <a:xfrm>
            <a:off x="4868074" y="2060878"/>
            <a:ext cx="2194560" cy="2377440"/>
          </a:xfrm>
          <a:prstGeom prst="rect">
            <a:avLst/>
          </a:prstGeom>
          <a:solidFill>
            <a:srgbClr val="ECECEC"/>
          </a:solidFill>
          <a:ln w="9525" algn="ctr">
            <a:noFill/>
            <a:miter lim="800000"/>
            <a:headEnd/>
            <a:tailEnd/>
          </a:ln>
        </p:spPr>
        <p:txBody>
          <a:bodyPr/>
          <a:lstStyle>
            <a:defPPr>
              <a:defRPr lang="en-US"/>
            </a:defPPr>
            <a:lvl1pPr marL="114300" indent="-114300" fontAlgn="base">
              <a:spcBef>
                <a:spcPct val="30000"/>
              </a:spcBef>
              <a:spcAft>
                <a:spcPct val="0"/>
              </a:spcAft>
              <a:buClr>
                <a:srgbClr val="1EA3D2"/>
              </a:buClr>
              <a:buFont typeface="Wingdings" pitchFamily="2" charset="2"/>
              <a:buChar char="§"/>
              <a:defRPr sz="1000">
                <a:solidFill>
                  <a:prstClr val="black"/>
                </a:solidFill>
                <a:latin typeface="Candara" panose="020E0502030303020204" pitchFamily="34" charset="0"/>
                <a:ea typeface="ＭＳ Ｐゴシック" pitchFamily="34" charset="-128"/>
                <a:cs typeface="Times New Roman" pitchFamily="18" charset="0"/>
              </a:defRPr>
            </a:lvl1p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Customize the Automation Framework and Libraries as required</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Automate the identified test cases using Robot framework, Python</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Perform Dry run</a:t>
            </a:r>
          </a:p>
        </p:txBody>
      </p:sp>
      <p:sp>
        <p:nvSpPr>
          <p:cNvPr id="13" name="Text Box 197">
            <a:extLst>
              <a:ext uri="{FF2B5EF4-FFF2-40B4-BE49-F238E27FC236}">
                <a16:creationId xmlns:a16="http://schemas.microsoft.com/office/drawing/2014/main" id="{936BE102-CA06-3A72-72B2-FACDDF0E3182}"/>
              </a:ext>
            </a:extLst>
          </p:cNvPr>
          <p:cNvSpPr txBox="1">
            <a:spLocks noChangeArrowheads="1"/>
          </p:cNvSpPr>
          <p:nvPr/>
        </p:nvSpPr>
        <p:spPr bwMode="auto">
          <a:xfrm>
            <a:off x="7165045" y="2060878"/>
            <a:ext cx="2194560" cy="2377440"/>
          </a:xfrm>
          <a:prstGeom prst="rect">
            <a:avLst/>
          </a:prstGeom>
          <a:solidFill>
            <a:srgbClr val="ECECEC"/>
          </a:solidFill>
          <a:ln w="9525" algn="ctr">
            <a:noFill/>
            <a:miter lim="800000"/>
            <a:headEnd/>
            <a:tailEnd/>
          </a:ln>
        </p:spPr>
        <p:txBody>
          <a:bodyPr/>
          <a:lstStyle/>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Execute the scripts</a:t>
            </a:r>
          </a:p>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Defect logging, if any in defect management tool</a:t>
            </a:r>
          </a:p>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Email notification on script failure and execution completion</a:t>
            </a:r>
          </a:p>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Ubuntu"/>
                <a:ea typeface="+mn-ea"/>
                <a:cs typeface="Arial" panose="020B0604020202020204" pitchFamily="34" charset="0"/>
              </a:rPr>
              <a:t>Review of completed scripts and execution result with functional SMEs and sign off</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endPar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p:txBody>
      </p:sp>
      <p:sp>
        <p:nvSpPr>
          <p:cNvPr id="14" name="AutoShape 275">
            <a:extLst>
              <a:ext uri="{FF2B5EF4-FFF2-40B4-BE49-F238E27FC236}">
                <a16:creationId xmlns:a16="http://schemas.microsoft.com/office/drawing/2014/main" id="{D5FC1BD6-9DAD-E843-7327-F7BF32FE3FE7}"/>
              </a:ext>
            </a:extLst>
          </p:cNvPr>
          <p:cNvSpPr>
            <a:spLocks noChangeArrowheads="1"/>
          </p:cNvSpPr>
          <p:nvPr/>
        </p:nvSpPr>
        <p:spPr bwMode="auto">
          <a:xfrm>
            <a:off x="2571102" y="5073285"/>
            <a:ext cx="2194560" cy="856645"/>
          </a:xfrm>
          <a:prstGeom prst="roundRect">
            <a:avLst>
              <a:gd name="adj" fmla="val 0"/>
            </a:avLst>
          </a:prstGeom>
          <a:noFill/>
          <a:ln w="9525" algn="ctr">
            <a:noFill/>
            <a:miter lim="800000"/>
            <a:headEnd/>
            <a:tailEnd/>
          </a:ln>
        </p:spPr>
        <p:txBody>
          <a:bodyPr>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Automation approach and strategy</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List of automatable Regression Test cases</a:t>
            </a:r>
          </a:p>
        </p:txBody>
      </p:sp>
      <p:sp>
        <p:nvSpPr>
          <p:cNvPr id="15" name="Text Box 197">
            <a:extLst>
              <a:ext uri="{FF2B5EF4-FFF2-40B4-BE49-F238E27FC236}">
                <a16:creationId xmlns:a16="http://schemas.microsoft.com/office/drawing/2014/main" id="{F1E1A4CA-E0A9-2DC2-F969-F46CDAC9CBE6}"/>
              </a:ext>
            </a:extLst>
          </p:cNvPr>
          <p:cNvSpPr txBox="1">
            <a:spLocks noChangeArrowheads="1"/>
          </p:cNvSpPr>
          <p:nvPr/>
        </p:nvSpPr>
        <p:spPr bwMode="auto">
          <a:xfrm>
            <a:off x="9462017" y="2060878"/>
            <a:ext cx="2194560" cy="2377440"/>
          </a:xfrm>
          <a:prstGeom prst="rect">
            <a:avLst/>
          </a:prstGeom>
          <a:solidFill>
            <a:srgbClr val="ECECEC"/>
          </a:solidFill>
          <a:ln w="9525" algn="ctr">
            <a:noFill/>
            <a:miter lim="800000"/>
            <a:headEnd/>
            <a:tailEnd/>
          </a:ln>
        </p:spPr>
        <p:txBody>
          <a:bodyPr/>
          <a:lstStyle/>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Improvement plan based on captured automation reports </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Handover of Run book</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Create Closure Report and Recommendations</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Sign off from the client</a:t>
            </a:r>
          </a:p>
        </p:txBody>
      </p:sp>
      <p:sp>
        <p:nvSpPr>
          <p:cNvPr id="16" name="AutoShape 6">
            <a:extLst>
              <a:ext uri="{FF2B5EF4-FFF2-40B4-BE49-F238E27FC236}">
                <a16:creationId xmlns:a16="http://schemas.microsoft.com/office/drawing/2014/main" id="{64229659-51BA-C077-5911-C68B2EEDA44A}"/>
              </a:ext>
            </a:extLst>
          </p:cNvPr>
          <p:cNvSpPr>
            <a:spLocks noChangeArrowheads="1"/>
          </p:cNvSpPr>
          <p:nvPr/>
        </p:nvSpPr>
        <p:spPr bwMode="auto">
          <a:xfrm>
            <a:off x="7062415" y="4296956"/>
            <a:ext cx="204382" cy="265271"/>
          </a:xfrm>
          <a:prstGeom prst="flowChartAlternateProcess">
            <a:avLst/>
          </a:prstGeom>
          <a:noFill/>
          <a:ln w="9525" algn="ctr">
            <a:noFill/>
            <a:miter lim="800000"/>
            <a:headEnd/>
            <a:tailEnd/>
          </a:ln>
        </p:spPr>
        <p:txBody>
          <a:bodyPr wrap="none"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1000" b="1" i="0" u="none" strike="noStrike" kern="1200" cap="none" spc="0" normalizeH="0" baseline="0" noProof="0">
              <a:ln>
                <a:noFill/>
              </a:ln>
              <a:solidFill>
                <a:prstClr val="black"/>
              </a:solidFill>
              <a:effectLst/>
              <a:uLnTx/>
              <a:uFillTx/>
              <a:latin typeface="Ubuntu"/>
              <a:ea typeface="ＭＳ Ｐゴシック" pitchFamily="34" charset="-128"/>
              <a:cs typeface="Arial" charset="0"/>
            </a:endParaRPr>
          </a:p>
        </p:txBody>
      </p:sp>
      <p:sp>
        <p:nvSpPr>
          <p:cNvPr id="17" name="Rectangle 282">
            <a:extLst>
              <a:ext uri="{FF2B5EF4-FFF2-40B4-BE49-F238E27FC236}">
                <a16:creationId xmlns:a16="http://schemas.microsoft.com/office/drawing/2014/main" id="{D76877AD-F9A0-4477-041C-4CF5E9C3ABF6}"/>
              </a:ext>
            </a:extLst>
          </p:cNvPr>
          <p:cNvSpPr>
            <a:spLocks noChangeArrowheads="1"/>
          </p:cNvSpPr>
          <p:nvPr/>
        </p:nvSpPr>
        <p:spPr bwMode="auto">
          <a:xfrm>
            <a:off x="274132" y="4622047"/>
            <a:ext cx="2194560"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a:ea typeface="ＭＳ Ｐゴシック" pitchFamily="34" charset="-128"/>
                <a:cs typeface="Arial" charset="0"/>
              </a:rPr>
              <a:t>Deliverables</a:t>
            </a:r>
          </a:p>
        </p:txBody>
      </p:sp>
      <p:sp>
        <p:nvSpPr>
          <p:cNvPr id="18" name="Freeform 284">
            <a:extLst>
              <a:ext uri="{FF2B5EF4-FFF2-40B4-BE49-F238E27FC236}">
                <a16:creationId xmlns:a16="http://schemas.microsoft.com/office/drawing/2014/main" id="{8E4DF558-2AF0-2276-85C4-DD0C4FA4454F}"/>
              </a:ext>
            </a:extLst>
          </p:cNvPr>
          <p:cNvSpPr>
            <a:spLocks/>
          </p:cNvSpPr>
          <p:nvPr/>
        </p:nvSpPr>
        <p:spPr bwMode="auto">
          <a:xfrm>
            <a:off x="274132" y="4277525"/>
            <a:ext cx="2194560" cy="304132"/>
          </a:xfrm>
          <a:custGeom>
            <a:avLst/>
            <a:gdLst>
              <a:gd name="T0" fmla="*/ 0 w 12800"/>
              <a:gd name="T1" fmla="*/ 0 h 1600"/>
              <a:gd name="T2" fmla="*/ 0 w 12800"/>
              <a:gd name="T3" fmla="*/ 0 h 1600"/>
              <a:gd name="T4" fmla="*/ 0 w 12800"/>
              <a:gd name="T5" fmla="*/ 0 h 1600"/>
              <a:gd name="T6" fmla="*/ 0 w 12800"/>
              <a:gd name="T7" fmla="*/ 0 h 1600"/>
              <a:gd name="T8" fmla="*/ 0 w 12800"/>
              <a:gd name="T9" fmla="*/ 0 h 1600"/>
              <a:gd name="T10" fmla="*/ 0 w 12800"/>
              <a:gd name="T11" fmla="*/ 0 h 1600"/>
              <a:gd name="T12" fmla="*/ 0 w 12800"/>
              <a:gd name="T13" fmla="*/ 0 h 1600"/>
              <a:gd name="T14" fmla="*/ 0 60000 65536"/>
              <a:gd name="T15" fmla="*/ 0 60000 65536"/>
              <a:gd name="T16" fmla="*/ 0 60000 65536"/>
              <a:gd name="T17" fmla="*/ 0 60000 65536"/>
              <a:gd name="T18" fmla="*/ 0 60000 65536"/>
              <a:gd name="T19" fmla="*/ 0 60000 65536"/>
              <a:gd name="T20" fmla="*/ 0 60000 65536"/>
              <a:gd name="T21" fmla="*/ 0 w 12800"/>
              <a:gd name="T22" fmla="*/ 0 h 1600"/>
              <a:gd name="T23" fmla="*/ 12800 w 12800"/>
              <a:gd name="T24" fmla="*/ 1600 h 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800" h="1600">
                <a:moveTo>
                  <a:pt x="12800" y="0"/>
                </a:moveTo>
                <a:cubicBezTo>
                  <a:pt x="12800" y="442"/>
                  <a:pt x="12323" y="800"/>
                  <a:pt x="11734" y="800"/>
                </a:cubicBezTo>
                <a:lnTo>
                  <a:pt x="7467" y="800"/>
                </a:lnTo>
                <a:cubicBezTo>
                  <a:pt x="6878" y="800"/>
                  <a:pt x="6400" y="1159"/>
                  <a:pt x="6400" y="1600"/>
                </a:cubicBezTo>
                <a:cubicBezTo>
                  <a:pt x="6400" y="1159"/>
                  <a:pt x="5923" y="800"/>
                  <a:pt x="5334" y="800"/>
                </a:cubicBezTo>
                <a:lnTo>
                  <a:pt x="1067" y="800"/>
                </a:lnTo>
                <a:cubicBezTo>
                  <a:pt x="478" y="800"/>
                  <a:pt x="0" y="442"/>
                  <a:pt x="0" y="0"/>
                </a:cubicBezTo>
              </a:path>
            </a:pathLst>
          </a:custGeom>
          <a:noFill/>
          <a:ln w="30163" cap="rnd">
            <a:solidFill>
              <a:srgbClr val="80808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Ubuntu"/>
              <a:ea typeface="ＭＳ Ｐゴシック" pitchFamily="34" charset="-128"/>
              <a:cs typeface="+mn-cs"/>
            </a:endParaRPr>
          </a:p>
        </p:txBody>
      </p:sp>
      <p:sp>
        <p:nvSpPr>
          <p:cNvPr id="19" name="Freeform 284">
            <a:extLst>
              <a:ext uri="{FF2B5EF4-FFF2-40B4-BE49-F238E27FC236}">
                <a16:creationId xmlns:a16="http://schemas.microsoft.com/office/drawing/2014/main" id="{C82F46C5-6520-76A3-1AE9-D79F8859D22C}"/>
              </a:ext>
            </a:extLst>
          </p:cNvPr>
          <p:cNvSpPr>
            <a:spLocks/>
          </p:cNvSpPr>
          <p:nvPr/>
        </p:nvSpPr>
        <p:spPr bwMode="auto">
          <a:xfrm>
            <a:off x="2545106" y="4277525"/>
            <a:ext cx="2194560" cy="304132"/>
          </a:xfrm>
          <a:custGeom>
            <a:avLst/>
            <a:gdLst>
              <a:gd name="T0" fmla="*/ 0 w 12800"/>
              <a:gd name="T1" fmla="*/ 0 h 1600"/>
              <a:gd name="T2" fmla="*/ 0 w 12800"/>
              <a:gd name="T3" fmla="*/ 0 h 1600"/>
              <a:gd name="T4" fmla="*/ 0 w 12800"/>
              <a:gd name="T5" fmla="*/ 0 h 1600"/>
              <a:gd name="T6" fmla="*/ 0 w 12800"/>
              <a:gd name="T7" fmla="*/ 0 h 1600"/>
              <a:gd name="T8" fmla="*/ 0 w 12800"/>
              <a:gd name="T9" fmla="*/ 0 h 1600"/>
              <a:gd name="T10" fmla="*/ 0 w 12800"/>
              <a:gd name="T11" fmla="*/ 0 h 1600"/>
              <a:gd name="T12" fmla="*/ 0 w 12800"/>
              <a:gd name="T13" fmla="*/ 0 h 1600"/>
              <a:gd name="T14" fmla="*/ 0 60000 65536"/>
              <a:gd name="T15" fmla="*/ 0 60000 65536"/>
              <a:gd name="T16" fmla="*/ 0 60000 65536"/>
              <a:gd name="T17" fmla="*/ 0 60000 65536"/>
              <a:gd name="T18" fmla="*/ 0 60000 65536"/>
              <a:gd name="T19" fmla="*/ 0 60000 65536"/>
              <a:gd name="T20" fmla="*/ 0 60000 65536"/>
              <a:gd name="T21" fmla="*/ 0 w 12800"/>
              <a:gd name="T22" fmla="*/ 0 h 1600"/>
              <a:gd name="T23" fmla="*/ 12800 w 12800"/>
              <a:gd name="T24" fmla="*/ 1600 h 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800" h="1600">
                <a:moveTo>
                  <a:pt x="12800" y="0"/>
                </a:moveTo>
                <a:cubicBezTo>
                  <a:pt x="12800" y="442"/>
                  <a:pt x="12323" y="800"/>
                  <a:pt x="11734" y="800"/>
                </a:cubicBezTo>
                <a:lnTo>
                  <a:pt x="7467" y="800"/>
                </a:lnTo>
                <a:cubicBezTo>
                  <a:pt x="6878" y="800"/>
                  <a:pt x="6400" y="1159"/>
                  <a:pt x="6400" y="1600"/>
                </a:cubicBezTo>
                <a:cubicBezTo>
                  <a:pt x="6400" y="1159"/>
                  <a:pt x="5923" y="800"/>
                  <a:pt x="5334" y="800"/>
                </a:cubicBezTo>
                <a:lnTo>
                  <a:pt x="1067" y="800"/>
                </a:lnTo>
                <a:cubicBezTo>
                  <a:pt x="478" y="800"/>
                  <a:pt x="0" y="442"/>
                  <a:pt x="0" y="0"/>
                </a:cubicBezTo>
              </a:path>
            </a:pathLst>
          </a:custGeom>
          <a:noFill/>
          <a:ln w="30163" cap="rnd">
            <a:solidFill>
              <a:srgbClr val="80808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Ubuntu"/>
              <a:ea typeface="ＭＳ Ｐゴシック" pitchFamily="34" charset="-128"/>
              <a:cs typeface="+mn-cs"/>
            </a:endParaRPr>
          </a:p>
        </p:txBody>
      </p:sp>
      <p:sp>
        <p:nvSpPr>
          <p:cNvPr id="20" name="Freeform 284">
            <a:extLst>
              <a:ext uri="{FF2B5EF4-FFF2-40B4-BE49-F238E27FC236}">
                <a16:creationId xmlns:a16="http://schemas.microsoft.com/office/drawing/2014/main" id="{B34A669B-DAF3-5E69-6424-CAFFED6C1B9F}"/>
              </a:ext>
            </a:extLst>
          </p:cNvPr>
          <p:cNvSpPr>
            <a:spLocks/>
          </p:cNvSpPr>
          <p:nvPr/>
        </p:nvSpPr>
        <p:spPr bwMode="auto">
          <a:xfrm>
            <a:off x="4868074" y="4277525"/>
            <a:ext cx="2194560" cy="304132"/>
          </a:xfrm>
          <a:custGeom>
            <a:avLst/>
            <a:gdLst>
              <a:gd name="T0" fmla="*/ 0 w 12800"/>
              <a:gd name="T1" fmla="*/ 0 h 1600"/>
              <a:gd name="T2" fmla="*/ 0 w 12800"/>
              <a:gd name="T3" fmla="*/ 0 h 1600"/>
              <a:gd name="T4" fmla="*/ 0 w 12800"/>
              <a:gd name="T5" fmla="*/ 0 h 1600"/>
              <a:gd name="T6" fmla="*/ 0 w 12800"/>
              <a:gd name="T7" fmla="*/ 0 h 1600"/>
              <a:gd name="T8" fmla="*/ 0 w 12800"/>
              <a:gd name="T9" fmla="*/ 0 h 1600"/>
              <a:gd name="T10" fmla="*/ 0 w 12800"/>
              <a:gd name="T11" fmla="*/ 0 h 1600"/>
              <a:gd name="T12" fmla="*/ 0 w 12800"/>
              <a:gd name="T13" fmla="*/ 0 h 1600"/>
              <a:gd name="T14" fmla="*/ 0 60000 65536"/>
              <a:gd name="T15" fmla="*/ 0 60000 65536"/>
              <a:gd name="T16" fmla="*/ 0 60000 65536"/>
              <a:gd name="T17" fmla="*/ 0 60000 65536"/>
              <a:gd name="T18" fmla="*/ 0 60000 65536"/>
              <a:gd name="T19" fmla="*/ 0 60000 65536"/>
              <a:gd name="T20" fmla="*/ 0 60000 65536"/>
              <a:gd name="T21" fmla="*/ 0 w 12800"/>
              <a:gd name="T22" fmla="*/ 0 h 1600"/>
              <a:gd name="T23" fmla="*/ 12800 w 12800"/>
              <a:gd name="T24" fmla="*/ 1600 h 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800" h="1600">
                <a:moveTo>
                  <a:pt x="12800" y="0"/>
                </a:moveTo>
                <a:cubicBezTo>
                  <a:pt x="12800" y="442"/>
                  <a:pt x="12323" y="800"/>
                  <a:pt x="11734" y="800"/>
                </a:cubicBezTo>
                <a:lnTo>
                  <a:pt x="7467" y="800"/>
                </a:lnTo>
                <a:cubicBezTo>
                  <a:pt x="6878" y="800"/>
                  <a:pt x="6400" y="1159"/>
                  <a:pt x="6400" y="1600"/>
                </a:cubicBezTo>
                <a:cubicBezTo>
                  <a:pt x="6400" y="1159"/>
                  <a:pt x="5923" y="800"/>
                  <a:pt x="5334" y="800"/>
                </a:cubicBezTo>
                <a:lnTo>
                  <a:pt x="1067" y="800"/>
                </a:lnTo>
                <a:cubicBezTo>
                  <a:pt x="478" y="800"/>
                  <a:pt x="0" y="442"/>
                  <a:pt x="0" y="0"/>
                </a:cubicBezTo>
              </a:path>
            </a:pathLst>
          </a:custGeom>
          <a:noFill/>
          <a:ln w="30163" cap="rnd">
            <a:solidFill>
              <a:srgbClr val="80808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Ubuntu"/>
              <a:ea typeface="ＭＳ Ｐゴシック" pitchFamily="34" charset="-128"/>
              <a:cs typeface="+mn-cs"/>
            </a:endParaRPr>
          </a:p>
        </p:txBody>
      </p:sp>
      <p:sp>
        <p:nvSpPr>
          <p:cNvPr id="21" name="Freeform 284">
            <a:extLst>
              <a:ext uri="{FF2B5EF4-FFF2-40B4-BE49-F238E27FC236}">
                <a16:creationId xmlns:a16="http://schemas.microsoft.com/office/drawing/2014/main" id="{FF532A7A-D6D2-1EA4-872C-D8EB12CCEF7A}"/>
              </a:ext>
            </a:extLst>
          </p:cNvPr>
          <p:cNvSpPr>
            <a:spLocks/>
          </p:cNvSpPr>
          <p:nvPr/>
        </p:nvSpPr>
        <p:spPr bwMode="auto">
          <a:xfrm>
            <a:off x="7165045" y="4277525"/>
            <a:ext cx="2194560" cy="304132"/>
          </a:xfrm>
          <a:custGeom>
            <a:avLst/>
            <a:gdLst>
              <a:gd name="T0" fmla="*/ 0 w 12800"/>
              <a:gd name="T1" fmla="*/ 0 h 1600"/>
              <a:gd name="T2" fmla="*/ 0 w 12800"/>
              <a:gd name="T3" fmla="*/ 0 h 1600"/>
              <a:gd name="T4" fmla="*/ 0 w 12800"/>
              <a:gd name="T5" fmla="*/ 0 h 1600"/>
              <a:gd name="T6" fmla="*/ 0 w 12800"/>
              <a:gd name="T7" fmla="*/ 0 h 1600"/>
              <a:gd name="T8" fmla="*/ 0 w 12800"/>
              <a:gd name="T9" fmla="*/ 0 h 1600"/>
              <a:gd name="T10" fmla="*/ 0 w 12800"/>
              <a:gd name="T11" fmla="*/ 0 h 1600"/>
              <a:gd name="T12" fmla="*/ 0 w 12800"/>
              <a:gd name="T13" fmla="*/ 0 h 1600"/>
              <a:gd name="T14" fmla="*/ 0 60000 65536"/>
              <a:gd name="T15" fmla="*/ 0 60000 65536"/>
              <a:gd name="T16" fmla="*/ 0 60000 65536"/>
              <a:gd name="T17" fmla="*/ 0 60000 65536"/>
              <a:gd name="T18" fmla="*/ 0 60000 65536"/>
              <a:gd name="T19" fmla="*/ 0 60000 65536"/>
              <a:gd name="T20" fmla="*/ 0 60000 65536"/>
              <a:gd name="T21" fmla="*/ 0 w 12800"/>
              <a:gd name="T22" fmla="*/ 0 h 1600"/>
              <a:gd name="T23" fmla="*/ 12800 w 12800"/>
              <a:gd name="T24" fmla="*/ 1600 h 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800" h="1600">
                <a:moveTo>
                  <a:pt x="12800" y="0"/>
                </a:moveTo>
                <a:cubicBezTo>
                  <a:pt x="12800" y="442"/>
                  <a:pt x="12323" y="800"/>
                  <a:pt x="11734" y="800"/>
                </a:cubicBezTo>
                <a:lnTo>
                  <a:pt x="7467" y="800"/>
                </a:lnTo>
                <a:cubicBezTo>
                  <a:pt x="6878" y="800"/>
                  <a:pt x="6400" y="1159"/>
                  <a:pt x="6400" y="1600"/>
                </a:cubicBezTo>
                <a:cubicBezTo>
                  <a:pt x="6400" y="1159"/>
                  <a:pt x="5923" y="800"/>
                  <a:pt x="5334" y="800"/>
                </a:cubicBezTo>
                <a:lnTo>
                  <a:pt x="1067" y="800"/>
                </a:lnTo>
                <a:cubicBezTo>
                  <a:pt x="478" y="800"/>
                  <a:pt x="0" y="442"/>
                  <a:pt x="0" y="0"/>
                </a:cubicBezTo>
              </a:path>
            </a:pathLst>
          </a:custGeom>
          <a:noFill/>
          <a:ln w="30163" cap="rnd">
            <a:solidFill>
              <a:srgbClr val="80808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Ubuntu"/>
              <a:ea typeface="ＭＳ Ｐゴシック" pitchFamily="34" charset="-128"/>
              <a:cs typeface="+mn-cs"/>
            </a:endParaRPr>
          </a:p>
        </p:txBody>
      </p:sp>
      <p:sp>
        <p:nvSpPr>
          <p:cNvPr id="22" name="Freeform 212">
            <a:extLst>
              <a:ext uri="{FF2B5EF4-FFF2-40B4-BE49-F238E27FC236}">
                <a16:creationId xmlns:a16="http://schemas.microsoft.com/office/drawing/2014/main" id="{2B947363-1BC5-57E2-21CF-40C61490232F}"/>
              </a:ext>
            </a:extLst>
          </p:cNvPr>
          <p:cNvSpPr>
            <a:spLocks/>
          </p:cNvSpPr>
          <p:nvPr/>
        </p:nvSpPr>
        <p:spPr bwMode="auto">
          <a:xfrm>
            <a:off x="9462017" y="4277525"/>
            <a:ext cx="2194560" cy="304132"/>
          </a:xfrm>
          <a:custGeom>
            <a:avLst/>
            <a:gdLst>
              <a:gd name="T0" fmla="*/ 0 w 12800"/>
              <a:gd name="T1" fmla="*/ 0 h 1600"/>
              <a:gd name="T2" fmla="*/ 0 w 12800"/>
              <a:gd name="T3" fmla="*/ 0 h 1600"/>
              <a:gd name="T4" fmla="*/ 0 w 12800"/>
              <a:gd name="T5" fmla="*/ 0 h 1600"/>
              <a:gd name="T6" fmla="*/ 0 w 12800"/>
              <a:gd name="T7" fmla="*/ 0 h 1600"/>
              <a:gd name="T8" fmla="*/ 0 w 12800"/>
              <a:gd name="T9" fmla="*/ 0 h 1600"/>
              <a:gd name="T10" fmla="*/ 0 w 12800"/>
              <a:gd name="T11" fmla="*/ 0 h 1600"/>
              <a:gd name="T12" fmla="*/ 0 w 12800"/>
              <a:gd name="T13" fmla="*/ 0 h 1600"/>
              <a:gd name="T14" fmla="*/ 0 60000 65536"/>
              <a:gd name="T15" fmla="*/ 0 60000 65536"/>
              <a:gd name="T16" fmla="*/ 0 60000 65536"/>
              <a:gd name="T17" fmla="*/ 0 60000 65536"/>
              <a:gd name="T18" fmla="*/ 0 60000 65536"/>
              <a:gd name="T19" fmla="*/ 0 60000 65536"/>
              <a:gd name="T20" fmla="*/ 0 60000 65536"/>
              <a:gd name="T21" fmla="*/ 0 w 12800"/>
              <a:gd name="T22" fmla="*/ 0 h 1600"/>
              <a:gd name="T23" fmla="*/ 12800 w 12800"/>
              <a:gd name="T24" fmla="*/ 1600 h 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800" h="1600">
                <a:moveTo>
                  <a:pt x="12800" y="0"/>
                </a:moveTo>
                <a:cubicBezTo>
                  <a:pt x="12800" y="442"/>
                  <a:pt x="12323" y="800"/>
                  <a:pt x="11734" y="800"/>
                </a:cubicBezTo>
                <a:lnTo>
                  <a:pt x="7467" y="800"/>
                </a:lnTo>
                <a:cubicBezTo>
                  <a:pt x="6878" y="800"/>
                  <a:pt x="6400" y="1159"/>
                  <a:pt x="6400" y="1600"/>
                </a:cubicBezTo>
                <a:cubicBezTo>
                  <a:pt x="6400" y="1159"/>
                  <a:pt x="5923" y="800"/>
                  <a:pt x="5334" y="800"/>
                </a:cubicBezTo>
                <a:lnTo>
                  <a:pt x="1067" y="800"/>
                </a:lnTo>
                <a:cubicBezTo>
                  <a:pt x="478" y="800"/>
                  <a:pt x="0" y="442"/>
                  <a:pt x="0" y="0"/>
                </a:cubicBezTo>
              </a:path>
            </a:pathLst>
          </a:custGeom>
          <a:noFill/>
          <a:ln w="30163" cap="rnd">
            <a:solidFill>
              <a:srgbClr val="80808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Ubuntu"/>
              <a:ea typeface="ＭＳ Ｐゴシック" pitchFamily="34" charset="-128"/>
              <a:cs typeface="+mn-cs"/>
            </a:endParaRPr>
          </a:p>
        </p:txBody>
      </p:sp>
      <p:sp>
        <p:nvSpPr>
          <p:cNvPr id="23" name="Rectangle 282">
            <a:extLst>
              <a:ext uri="{FF2B5EF4-FFF2-40B4-BE49-F238E27FC236}">
                <a16:creationId xmlns:a16="http://schemas.microsoft.com/office/drawing/2014/main" id="{C1F23C8F-D0D6-2BE8-36BB-7E7E2BB34C56}"/>
              </a:ext>
            </a:extLst>
          </p:cNvPr>
          <p:cNvSpPr>
            <a:spLocks noChangeArrowheads="1"/>
          </p:cNvSpPr>
          <p:nvPr/>
        </p:nvSpPr>
        <p:spPr bwMode="auto">
          <a:xfrm>
            <a:off x="9462017" y="4622047"/>
            <a:ext cx="2194560"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a:ea typeface="ＭＳ Ｐゴシック" pitchFamily="34" charset="-128"/>
                <a:cs typeface="Arial" charset="0"/>
              </a:rPr>
              <a:t>Deliverables</a:t>
            </a:r>
          </a:p>
        </p:txBody>
      </p:sp>
      <p:sp>
        <p:nvSpPr>
          <p:cNvPr id="24" name="Rectangle 282">
            <a:extLst>
              <a:ext uri="{FF2B5EF4-FFF2-40B4-BE49-F238E27FC236}">
                <a16:creationId xmlns:a16="http://schemas.microsoft.com/office/drawing/2014/main" id="{0DDAFA44-4054-9D63-59C4-DC1BB3BEFEDE}"/>
              </a:ext>
            </a:extLst>
          </p:cNvPr>
          <p:cNvSpPr>
            <a:spLocks noChangeArrowheads="1"/>
          </p:cNvSpPr>
          <p:nvPr/>
        </p:nvSpPr>
        <p:spPr bwMode="auto">
          <a:xfrm>
            <a:off x="7165045" y="4622047"/>
            <a:ext cx="2194560"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a:ea typeface="ＭＳ Ｐゴシック" pitchFamily="34" charset="-128"/>
                <a:cs typeface="Arial" charset="0"/>
              </a:rPr>
              <a:t>Deliverables</a:t>
            </a:r>
          </a:p>
        </p:txBody>
      </p:sp>
      <p:sp>
        <p:nvSpPr>
          <p:cNvPr id="25" name="Rectangle 282">
            <a:extLst>
              <a:ext uri="{FF2B5EF4-FFF2-40B4-BE49-F238E27FC236}">
                <a16:creationId xmlns:a16="http://schemas.microsoft.com/office/drawing/2014/main" id="{9CCC0E63-5619-D414-746D-241E353A9CFC}"/>
              </a:ext>
            </a:extLst>
          </p:cNvPr>
          <p:cNvSpPr>
            <a:spLocks noChangeArrowheads="1"/>
          </p:cNvSpPr>
          <p:nvPr/>
        </p:nvSpPr>
        <p:spPr bwMode="auto">
          <a:xfrm>
            <a:off x="4868074" y="4622047"/>
            <a:ext cx="2194560"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a:ea typeface="ＭＳ Ｐゴシック" pitchFamily="34" charset="-128"/>
                <a:cs typeface="Arial" charset="0"/>
              </a:rPr>
              <a:t>Deliverables</a:t>
            </a:r>
          </a:p>
        </p:txBody>
      </p:sp>
      <p:sp>
        <p:nvSpPr>
          <p:cNvPr id="26" name="Rectangle 282">
            <a:extLst>
              <a:ext uri="{FF2B5EF4-FFF2-40B4-BE49-F238E27FC236}">
                <a16:creationId xmlns:a16="http://schemas.microsoft.com/office/drawing/2014/main" id="{B7317674-D265-65C9-ABCA-14B1841C378B}"/>
              </a:ext>
            </a:extLst>
          </p:cNvPr>
          <p:cNvSpPr>
            <a:spLocks noChangeArrowheads="1"/>
          </p:cNvSpPr>
          <p:nvPr/>
        </p:nvSpPr>
        <p:spPr bwMode="auto">
          <a:xfrm>
            <a:off x="2571103" y="4622047"/>
            <a:ext cx="2194560"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a:ea typeface="ＭＳ Ｐゴシック" pitchFamily="34" charset="-128"/>
                <a:cs typeface="Arial" charset="0"/>
              </a:rPr>
              <a:t>Deliverables</a:t>
            </a:r>
          </a:p>
        </p:txBody>
      </p:sp>
      <p:sp>
        <p:nvSpPr>
          <p:cNvPr id="27" name="AutoShape 263">
            <a:extLst>
              <a:ext uri="{FF2B5EF4-FFF2-40B4-BE49-F238E27FC236}">
                <a16:creationId xmlns:a16="http://schemas.microsoft.com/office/drawing/2014/main" id="{363F2A89-BE42-A635-CBC8-1A4CE69D1DC1}"/>
              </a:ext>
            </a:extLst>
          </p:cNvPr>
          <p:cNvSpPr>
            <a:spLocks noChangeArrowheads="1"/>
          </p:cNvSpPr>
          <p:nvPr/>
        </p:nvSpPr>
        <p:spPr bwMode="auto">
          <a:xfrm>
            <a:off x="7165045" y="5044264"/>
            <a:ext cx="2194560" cy="487313"/>
          </a:xfrm>
          <a:prstGeom prst="roundRect">
            <a:avLst>
              <a:gd name="adj" fmla="val 0"/>
            </a:avLst>
          </a:prstGeom>
          <a:noFill/>
          <a:ln w="9525" algn="ctr">
            <a:noFill/>
            <a:miter lim="800000"/>
            <a:headEnd/>
            <a:tailEnd/>
          </a:ln>
        </p:spPr>
        <p:txBody>
          <a:bodyPr>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Test result</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Defect report</a:t>
            </a:r>
          </a:p>
        </p:txBody>
      </p:sp>
      <p:sp>
        <p:nvSpPr>
          <p:cNvPr id="28" name="AutoShape 269">
            <a:extLst>
              <a:ext uri="{FF2B5EF4-FFF2-40B4-BE49-F238E27FC236}">
                <a16:creationId xmlns:a16="http://schemas.microsoft.com/office/drawing/2014/main" id="{B7664D11-648D-4036-7856-646CBC3A6900}"/>
              </a:ext>
            </a:extLst>
          </p:cNvPr>
          <p:cNvSpPr>
            <a:spLocks noChangeArrowheads="1"/>
          </p:cNvSpPr>
          <p:nvPr/>
        </p:nvSpPr>
        <p:spPr bwMode="auto">
          <a:xfrm>
            <a:off x="4868074" y="5044264"/>
            <a:ext cx="2194560" cy="1066959"/>
          </a:xfrm>
          <a:prstGeom prst="roundRect">
            <a:avLst>
              <a:gd name="adj" fmla="val 0"/>
            </a:avLst>
          </a:prstGeom>
          <a:noFill/>
          <a:ln w="9525" algn="ctr">
            <a:noFill/>
            <a:miter lim="800000"/>
            <a:headEnd/>
            <a:tailEnd/>
          </a:ln>
        </p:spPr>
        <p:txBody>
          <a:bodyPr>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A highly reusable component-based framework </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Automated test scripts</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endPar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endParaRPr>
          </a:p>
        </p:txBody>
      </p:sp>
      <p:sp>
        <p:nvSpPr>
          <p:cNvPr id="29" name="AutoShape 281">
            <a:extLst>
              <a:ext uri="{FF2B5EF4-FFF2-40B4-BE49-F238E27FC236}">
                <a16:creationId xmlns:a16="http://schemas.microsoft.com/office/drawing/2014/main" id="{672CC275-A0F0-9BC9-E518-F4FBEBA527CB}"/>
              </a:ext>
            </a:extLst>
          </p:cNvPr>
          <p:cNvSpPr>
            <a:spLocks noChangeArrowheads="1"/>
          </p:cNvSpPr>
          <p:nvPr/>
        </p:nvSpPr>
        <p:spPr bwMode="auto">
          <a:xfrm>
            <a:off x="274132" y="5044264"/>
            <a:ext cx="2194560" cy="856645"/>
          </a:xfrm>
          <a:prstGeom prst="roundRect">
            <a:avLst>
              <a:gd name="adj" fmla="val 0"/>
            </a:avLst>
          </a:prstGeom>
          <a:noFill/>
          <a:ln w="9525" algn="ctr">
            <a:noFill/>
            <a:miter lim="800000"/>
            <a:headEnd/>
            <a:tailEnd/>
          </a:ln>
        </p:spPr>
        <p:txBody>
          <a:bodyPr>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Application Access</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Environment access and Automation Tool setup is completed</a:t>
            </a:r>
          </a:p>
        </p:txBody>
      </p:sp>
      <p:sp>
        <p:nvSpPr>
          <p:cNvPr id="30" name="AutoShape 263">
            <a:extLst>
              <a:ext uri="{FF2B5EF4-FFF2-40B4-BE49-F238E27FC236}">
                <a16:creationId xmlns:a16="http://schemas.microsoft.com/office/drawing/2014/main" id="{8DBF151A-3E25-AB54-21F0-30CBAB79EDF9}"/>
              </a:ext>
            </a:extLst>
          </p:cNvPr>
          <p:cNvSpPr>
            <a:spLocks noChangeArrowheads="1"/>
          </p:cNvSpPr>
          <p:nvPr/>
        </p:nvSpPr>
        <p:spPr bwMode="auto">
          <a:xfrm>
            <a:off x="9462017" y="5044264"/>
            <a:ext cx="2194560" cy="882293"/>
          </a:xfrm>
          <a:prstGeom prst="roundRect">
            <a:avLst>
              <a:gd name="adj" fmla="val 0"/>
            </a:avLst>
          </a:prstGeom>
          <a:noFill/>
          <a:ln w="9525" algn="ctr">
            <a:noFill/>
            <a:miter lim="800000"/>
            <a:headEnd/>
            <a:tailEnd/>
          </a:ln>
        </p:spPr>
        <p:txBody>
          <a:bodyPr>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Run book</a:t>
            </a:r>
          </a:p>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rPr>
              <a:t>Closure Report and Recommendations</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endParaRPr kumimoji="0" lang="en-US" sz="1200" b="0" i="0" u="none" strike="noStrike" kern="1200" cap="none" spc="0" normalizeH="0" baseline="0" noProof="0">
              <a:ln>
                <a:noFill/>
              </a:ln>
              <a:solidFill>
                <a:prstClr val="black"/>
              </a:solidFill>
              <a:effectLst/>
              <a:uLnTx/>
              <a:uFillTx/>
              <a:latin typeface="Ubuntu"/>
              <a:ea typeface="ＭＳ Ｐゴシック" pitchFamily="34" charset="-128"/>
              <a:cs typeface="Arial" panose="020B0604020202020204" pitchFamily="34" charset="0"/>
            </a:endParaRPr>
          </a:p>
        </p:txBody>
      </p:sp>
      <p:cxnSp>
        <p:nvCxnSpPr>
          <p:cNvPr id="31" name="Straight Connector 30">
            <a:extLst>
              <a:ext uri="{FF2B5EF4-FFF2-40B4-BE49-F238E27FC236}">
                <a16:creationId xmlns:a16="http://schemas.microsoft.com/office/drawing/2014/main" id="{1AF28D2E-9A89-759D-8ADE-4DDD2A603FBA}"/>
              </a:ext>
            </a:extLst>
          </p:cNvPr>
          <p:cNvCxnSpPr/>
          <p:nvPr/>
        </p:nvCxnSpPr>
        <p:spPr>
          <a:xfrm>
            <a:off x="274132" y="4622047"/>
            <a:ext cx="0" cy="1580169"/>
          </a:xfrm>
          <a:prstGeom prst="line">
            <a:avLst/>
          </a:prstGeom>
          <a:noFill/>
          <a:ln w="12700" cap="flat" cmpd="sng" algn="ctr">
            <a:solidFill>
              <a:srgbClr val="12ABDB"/>
            </a:solidFill>
            <a:prstDash val="dash"/>
            <a:miter lim="800000"/>
          </a:ln>
          <a:effectLst/>
        </p:spPr>
      </p:cxnSp>
      <p:grpSp>
        <p:nvGrpSpPr>
          <p:cNvPr id="32" name="Group 31">
            <a:extLst>
              <a:ext uri="{FF2B5EF4-FFF2-40B4-BE49-F238E27FC236}">
                <a16:creationId xmlns:a16="http://schemas.microsoft.com/office/drawing/2014/main" id="{5614CB16-C753-9F1D-7A44-9EB9B4AD783E}"/>
              </a:ext>
            </a:extLst>
          </p:cNvPr>
          <p:cNvGrpSpPr/>
          <p:nvPr/>
        </p:nvGrpSpPr>
        <p:grpSpPr>
          <a:xfrm>
            <a:off x="2571103" y="4622047"/>
            <a:ext cx="6890914" cy="1374707"/>
            <a:chOff x="2552631" y="4769831"/>
            <a:chExt cx="6890914" cy="1580169"/>
          </a:xfrm>
        </p:grpSpPr>
        <p:cxnSp>
          <p:nvCxnSpPr>
            <p:cNvPr id="33" name="Straight Connector 32">
              <a:extLst>
                <a:ext uri="{FF2B5EF4-FFF2-40B4-BE49-F238E27FC236}">
                  <a16:creationId xmlns:a16="http://schemas.microsoft.com/office/drawing/2014/main" id="{FA3724D3-E1DF-7CC3-348B-A7F6E98E850A}"/>
                </a:ext>
              </a:extLst>
            </p:cNvPr>
            <p:cNvCxnSpPr/>
            <p:nvPr/>
          </p:nvCxnSpPr>
          <p:spPr>
            <a:xfrm>
              <a:off x="2552631" y="4769831"/>
              <a:ext cx="0" cy="1580169"/>
            </a:xfrm>
            <a:prstGeom prst="line">
              <a:avLst/>
            </a:prstGeom>
            <a:noFill/>
            <a:ln w="12700" cap="flat" cmpd="sng" algn="ctr">
              <a:solidFill>
                <a:srgbClr val="12ABDB"/>
              </a:solidFill>
              <a:prstDash val="dash"/>
              <a:miter lim="800000"/>
            </a:ln>
            <a:effectLst/>
          </p:spPr>
        </p:cxnSp>
        <p:cxnSp>
          <p:nvCxnSpPr>
            <p:cNvPr id="34" name="Straight Connector 33">
              <a:extLst>
                <a:ext uri="{FF2B5EF4-FFF2-40B4-BE49-F238E27FC236}">
                  <a16:creationId xmlns:a16="http://schemas.microsoft.com/office/drawing/2014/main" id="{F82588D1-537D-50B3-E318-A8C1F9D62CEC}"/>
                </a:ext>
              </a:extLst>
            </p:cNvPr>
            <p:cNvCxnSpPr/>
            <p:nvPr/>
          </p:nvCxnSpPr>
          <p:spPr>
            <a:xfrm>
              <a:off x="4849602" y="4769831"/>
              <a:ext cx="0" cy="1580169"/>
            </a:xfrm>
            <a:prstGeom prst="line">
              <a:avLst/>
            </a:prstGeom>
            <a:noFill/>
            <a:ln w="12700" cap="flat" cmpd="sng" algn="ctr">
              <a:solidFill>
                <a:srgbClr val="12ABDB"/>
              </a:solidFill>
              <a:prstDash val="dash"/>
              <a:miter lim="800000"/>
            </a:ln>
            <a:effectLst/>
          </p:spPr>
        </p:cxnSp>
        <p:cxnSp>
          <p:nvCxnSpPr>
            <p:cNvPr id="35" name="Straight Connector 34">
              <a:extLst>
                <a:ext uri="{FF2B5EF4-FFF2-40B4-BE49-F238E27FC236}">
                  <a16:creationId xmlns:a16="http://schemas.microsoft.com/office/drawing/2014/main" id="{69943EF4-D1DB-5A3E-C288-B29E56EBDDAF}"/>
                </a:ext>
              </a:extLst>
            </p:cNvPr>
            <p:cNvCxnSpPr/>
            <p:nvPr/>
          </p:nvCxnSpPr>
          <p:spPr>
            <a:xfrm>
              <a:off x="7131504" y="4769831"/>
              <a:ext cx="0" cy="1580169"/>
            </a:xfrm>
            <a:prstGeom prst="line">
              <a:avLst/>
            </a:prstGeom>
            <a:noFill/>
            <a:ln w="12700" cap="flat" cmpd="sng" algn="ctr">
              <a:solidFill>
                <a:srgbClr val="12ABDB"/>
              </a:solidFill>
              <a:prstDash val="dash"/>
              <a:miter lim="800000"/>
            </a:ln>
            <a:effectLst/>
          </p:spPr>
        </p:cxnSp>
        <p:cxnSp>
          <p:nvCxnSpPr>
            <p:cNvPr id="36" name="Straight Connector 35">
              <a:extLst>
                <a:ext uri="{FF2B5EF4-FFF2-40B4-BE49-F238E27FC236}">
                  <a16:creationId xmlns:a16="http://schemas.microsoft.com/office/drawing/2014/main" id="{EC42AB8F-03F4-B735-7CDF-4A6431BDC6ED}"/>
                </a:ext>
              </a:extLst>
            </p:cNvPr>
            <p:cNvCxnSpPr/>
            <p:nvPr/>
          </p:nvCxnSpPr>
          <p:spPr>
            <a:xfrm>
              <a:off x="9443545" y="4769831"/>
              <a:ext cx="0" cy="1580169"/>
            </a:xfrm>
            <a:prstGeom prst="line">
              <a:avLst/>
            </a:prstGeom>
            <a:noFill/>
            <a:ln w="12700" cap="flat" cmpd="sng" algn="ctr">
              <a:solidFill>
                <a:srgbClr val="12ABDB"/>
              </a:solidFill>
              <a:prstDash val="dash"/>
              <a:miter lim="800000"/>
            </a:ln>
            <a:effectLst/>
          </p:spPr>
        </p:cxnSp>
      </p:grpSp>
      <p:sp>
        <p:nvSpPr>
          <p:cNvPr id="37" name="Title 1">
            <a:extLst>
              <a:ext uri="{FF2B5EF4-FFF2-40B4-BE49-F238E27FC236}">
                <a16:creationId xmlns:a16="http://schemas.microsoft.com/office/drawing/2014/main" id="{84F1E551-6E86-4DE1-5EC7-E62C36D858E6}"/>
              </a:ext>
            </a:extLst>
          </p:cNvPr>
          <p:cNvSpPr txBox="1">
            <a:spLocks/>
          </p:cNvSpPr>
          <p:nvPr/>
        </p:nvSpPr>
        <p:spPr>
          <a:xfrm>
            <a:off x="364936" y="250829"/>
            <a:ext cx="11009685" cy="387798"/>
          </a:xfrm>
          <a:prstGeom prst="rect">
            <a:avLst/>
          </a:prstGeom>
        </p:spPr>
        <p:txBody>
          <a:bodyPr vert="horz" lIns="0" tIns="0" rIns="0" bIns="0" rtlCol="0" anchor="ctr"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1" i="0" u="none" strike="noStrike" kern="1200" cap="none" spc="0" normalizeH="0" baseline="0" noProof="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2800" b="1" i="0" u="none" strike="noStrike" kern="1200" cap="all" spc="0" normalizeH="0" baseline="0" noProof="0" dirty="0">
                <a:ln>
                  <a:noFill/>
                </a:ln>
                <a:solidFill>
                  <a:srgbClr val="0070AD"/>
                </a:solidFill>
                <a:effectLst/>
                <a:uLnTx/>
                <a:uFillTx/>
                <a:latin typeface="Ubuntu"/>
                <a:ea typeface="+mj-ea"/>
                <a:cs typeface="+mj-cs"/>
              </a:rPr>
              <a:t>Test Automation Approach</a:t>
            </a:r>
          </a:p>
        </p:txBody>
      </p:sp>
    </p:spTree>
    <p:extLst>
      <p:ext uri="{BB962C8B-B14F-4D97-AF65-F5344CB8AC3E}">
        <p14:creationId xmlns:p14="http://schemas.microsoft.com/office/powerpoint/2010/main" val="19640127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C45D497-2788-6A37-93AE-FC29F08CA8E4}"/>
              </a:ext>
            </a:extLst>
          </p:cNvPr>
          <p:cNvSpPr txBox="1">
            <a:spLocks/>
          </p:cNvSpPr>
          <p:nvPr/>
        </p:nvSpPr>
        <p:spPr>
          <a:xfrm>
            <a:off x="1380071" y="-962690"/>
            <a:ext cx="10701498" cy="1376820"/>
          </a:xfrm>
          <a:prstGeom prst="rect">
            <a:avLst/>
          </a:prstGeom>
          <a:noFill/>
          <a:ln w="12700" cap="flat" cmpd="sng" algn="ctr">
            <a:noFill/>
            <a:prstDash val="solid"/>
            <a:miter lim="800000"/>
          </a:ln>
          <a:effectLst/>
        </p:spPr>
        <p:txBody>
          <a:bodyPr vert="horz" lIns="0" tIns="0" rIns="0" bIns="0" rtlCol="0" anchor="b">
            <a:noAutofit/>
          </a:bodyPr>
          <a:lstStyle>
            <a:lvl1pPr algn="l" defTabSz="914400" rtl="0" eaLnBrk="1" latinLnBrk="0" hangingPunct="1">
              <a:lnSpc>
                <a:spcPts val="3000"/>
              </a:lnSpc>
              <a:spcBef>
                <a:spcPct val="0"/>
              </a:spcBef>
              <a:buNone/>
              <a:defRPr lang="en-US" sz="2600" b="0" kern="1200" dirty="0">
                <a:solidFill>
                  <a:schemeClr val="accent3"/>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0AD"/>
              </a:solidFill>
              <a:effectLst/>
              <a:uLnTx/>
              <a:uFillTx/>
              <a:latin typeface="Ubuntu"/>
              <a:ea typeface="+mn-ea"/>
              <a:cs typeface="+mn-cs"/>
            </a:endParaRPr>
          </a:p>
        </p:txBody>
      </p:sp>
      <p:sp>
        <p:nvSpPr>
          <p:cNvPr id="8" name="TextBox 7">
            <a:extLst>
              <a:ext uri="{FF2B5EF4-FFF2-40B4-BE49-F238E27FC236}">
                <a16:creationId xmlns:a16="http://schemas.microsoft.com/office/drawing/2014/main" id="{911F4932-23D6-B5E9-B782-068FCC40988F}"/>
              </a:ext>
            </a:extLst>
          </p:cNvPr>
          <p:cNvSpPr txBox="1"/>
          <p:nvPr/>
        </p:nvSpPr>
        <p:spPr>
          <a:xfrm>
            <a:off x="249995" y="745369"/>
            <a:ext cx="1101454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Ubuntu"/>
                <a:ea typeface="+mn-ea"/>
                <a:cs typeface="+mn-cs"/>
              </a:rPr>
              <a:t>A systematic approach to handling the automation of regression suite is as described below</a:t>
            </a:r>
          </a:p>
        </p:txBody>
      </p:sp>
      <p:sp>
        <p:nvSpPr>
          <p:cNvPr id="2" name="Title 1">
            <a:extLst>
              <a:ext uri="{FF2B5EF4-FFF2-40B4-BE49-F238E27FC236}">
                <a16:creationId xmlns:a16="http://schemas.microsoft.com/office/drawing/2014/main" id="{2FBB375E-17F5-6780-19BC-E3A67B61C11C}"/>
              </a:ext>
            </a:extLst>
          </p:cNvPr>
          <p:cNvSpPr txBox="1">
            <a:spLocks/>
          </p:cNvSpPr>
          <p:nvPr/>
        </p:nvSpPr>
        <p:spPr>
          <a:xfrm>
            <a:off x="357704" y="220231"/>
            <a:ext cx="11009685" cy="387798"/>
          </a:xfrm>
          <a:prstGeom prst="rect">
            <a:avLst/>
          </a:prstGeom>
        </p:spPr>
        <p:txBody>
          <a:bodyPr vert="horz" lIns="0" tIns="0" rIns="0" bIns="0" rtlCol="0" anchor="ctr"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1" i="0" u="none" strike="noStrike" kern="1200" cap="none" spc="0" normalizeH="0" baseline="0" noProof="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1" i="0" u="none" strike="noStrike" kern="1200" cap="all" spc="0" normalizeH="0" baseline="0" noProof="0">
                <a:ln>
                  <a:noFill/>
                </a:ln>
                <a:solidFill>
                  <a:srgbClr val="0070AD"/>
                </a:solidFill>
                <a:effectLst/>
                <a:uLnTx/>
                <a:uFillTx/>
                <a:latin typeface="Ubuntu"/>
                <a:ea typeface="Verdana" panose="020B0604030504040204" pitchFamily="34" charset="0"/>
                <a:cs typeface="+mj-cs"/>
              </a:rPr>
              <a:t>Regression</a:t>
            </a:r>
            <a:r>
              <a:rPr kumimoji="0" lang="en-GB" sz="2600" b="0" i="0" u="none" strike="noStrike" kern="1200" cap="none" spc="0" normalizeH="0" baseline="0" noProof="0">
                <a:ln>
                  <a:noFill/>
                </a:ln>
                <a:solidFill>
                  <a:srgbClr val="272936"/>
                </a:solidFill>
                <a:effectLst/>
                <a:uLnTx/>
                <a:uFillTx/>
                <a:latin typeface="Ubuntu medium" panose="020B0604030602030204" pitchFamily="34" charset="0"/>
                <a:ea typeface="Verdana" panose="020B0604030504040204" pitchFamily="34" charset="0"/>
                <a:cs typeface="+mj-cs"/>
              </a:rPr>
              <a:t> </a:t>
            </a:r>
            <a:r>
              <a:rPr kumimoji="0" lang="en-GB" sz="2800" b="1" i="0" u="none" strike="noStrike" kern="1200" cap="all" spc="0" normalizeH="0" baseline="0" noProof="0">
                <a:ln>
                  <a:noFill/>
                </a:ln>
                <a:solidFill>
                  <a:srgbClr val="0070AD"/>
                </a:solidFill>
                <a:effectLst/>
                <a:uLnTx/>
                <a:uFillTx/>
                <a:latin typeface="Ubuntu"/>
                <a:ea typeface="Verdana" panose="020B0604030504040204" pitchFamily="34" charset="0"/>
                <a:cs typeface="+mj-cs"/>
              </a:rPr>
              <a:t>Automation</a:t>
            </a:r>
            <a:r>
              <a:rPr kumimoji="0" lang="en-GB" sz="2600" b="0" i="0" u="none" strike="noStrike" kern="1200" cap="none" spc="0" normalizeH="0" baseline="0" noProof="0">
                <a:ln>
                  <a:noFill/>
                </a:ln>
                <a:solidFill>
                  <a:srgbClr val="272936"/>
                </a:solidFill>
                <a:effectLst/>
                <a:uLnTx/>
                <a:uFillTx/>
                <a:latin typeface="Ubuntu medium" panose="020B0604030602030204" pitchFamily="34" charset="0"/>
                <a:ea typeface="Verdana" panose="020B0604030504040204" pitchFamily="34" charset="0"/>
                <a:cs typeface="+mj-cs"/>
              </a:rPr>
              <a:t> </a:t>
            </a:r>
            <a:r>
              <a:rPr kumimoji="0" lang="en-GB" sz="2800" b="1" i="0" u="none" strike="noStrike" kern="1200" cap="all" spc="0" normalizeH="0" baseline="0" noProof="0">
                <a:ln>
                  <a:noFill/>
                </a:ln>
                <a:solidFill>
                  <a:srgbClr val="0070AD"/>
                </a:solidFill>
                <a:effectLst/>
                <a:uLnTx/>
                <a:uFillTx/>
                <a:latin typeface="Ubuntu"/>
                <a:ea typeface="Verdana" panose="020B0604030504040204" pitchFamily="34" charset="0"/>
                <a:cs typeface="+mj-cs"/>
              </a:rPr>
              <a:t>Approach</a:t>
            </a:r>
            <a:endParaRPr kumimoji="0" lang="en-IN" sz="2800" b="1" i="0" u="none" strike="noStrike" kern="1200" cap="all" spc="0" normalizeH="0" baseline="0" noProof="0">
              <a:ln>
                <a:noFill/>
              </a:ln>
              <a:solidFill>
                <a:srgbClr val="0070AD"/>
              </a:solidFill>
              <a:effectLst/>
              <a:uLnTx/>
              <a:uFillTx/>
              <a:latin typeface="Ubuntu"/>
              <a:ea typeface="Verdana" panose="020B0604030504040204" pitchFamily="34" charset="0"/>
              <a:cs typeface="+mj-cs"/>
            </a:endParaRPr>
          </a:p>
        </p:txBody>
      </p:sp>
      <p:sp>
        <p:nvSpPr>
          <p:cNvPr id="9" name="Rectangle 8">
            <a:extLst>
              <a:ext uri="{FF2B5EF4-FFF2-40B4-BE49-F238E27FC236}">
                <a16:creationId xmlns:a16="http://schemas.microsoft.com/office/drawing/2014/main" id="{9605D990-40E9-F2A3-CA71-39BD20C37063}"/>
              </a:ext>
            </a:extLst>
          </p:cNvPr>
          <p:cNvSpPr/>
          <p:nvPr/>
        </p:nvSpPr>
        <p:spPr>
          <a:xfrm>
            <a:off x="10033488" y="5482265"/>
            <a:ext cx="1977184" cy="1134765"/>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RCA Outcome</a:t>
            </a:r>
          </a:p>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228600" marR="0" lvl="0" indent="-228600" algn="l" defTabSz="957756" rtl="0" eaLnBrk="1" fontAlgn="auto" latinLnBrk="0" hangingPunct="1">
              <a:lnSpc>
                <a:spcPct val="100000"/>
              </a:lnSpc>
              <a:spcBef>
                <a:spcPts val="0"/>
              </a:spcBef>
              <a:spcAft>
                <a:spcPts val="0"/>
              </a:spcAft>
              <a:buClrTx/>
              <a:buSzTx/>
              <a:buFont typeface="+mj-lt"/>
              <a:buAutoNum type="arabicPeriod"/>
              <a:tabLst/>
              <a:defRPr/>
            </a:pPr>
            <a:r>
              <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oding Error/Input Data Errors/Human Errors</a:t>
            </a:r>
          </a:p>
          <a:p>
            <a:pPr marL="228600" marR="0" lvl="0" indent="-228600" algn="l" defTabSz="957756" rtl="0" eaLnBrk="1" fontAlgn="auto" latinLnBrk="0" hangingPunct="1">
              <a:lnSpc>
                <a:spcPct val="100000"/>
              </a:lnSpc>
              <a:spcBef>
                <a:spcPts val="0"/>
              </a:spcBef>
              <a:spcAft>
                <a:spcPts val="0"/>
              </a:spcAft>
              <a:buClrTx/>
              <a:buSzTx/>
              <a:buFont typeface="+mj-lt"/>
              <a:buAutoNum type="arabicPeriod"/>
              <a:tabLst/>
              <a:defRPr/>
            </a:pPr>
            <a:r>
              <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rovide Recommendation to Development teams</a:t>
            </a:r>
          </a:p>
        </p:txBody>
      </p:sp>
      <p:sp>
        <p:nvSpPr>
          <p:cNvPr id="10" name="Rectangle 9">
            <a:extLst>
              <a:ext uri="{FF2B5EF4-FFF2-40B4-BE49-F238E27FC236}">
                <a16:creationId xmlns:a16="http://schemas.microsoft.com/office/drawing/2014/main" id="{4A88CC9E-4D58-FE28-CF31-9BB4D8433C9C}"/>
              </a:ext>
            </a:extLst>
          </p:cNvPr>
          <p:cNvSpPr/>
          <p:nvPr/>
        </p:nvSpPr>
        <p:spPr>
          <a:xfrm>
            <a:off x="461125" y="5097218"/>
            <a:ext cx="1372933" cy="514558"/>
          </a:xfrm>
          <a:prstGeom prst="rect">
            <a:avLst/>
          </a:prstGeom>
          <a:noFill/>
          <a:ln w="190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Release Deployment</a:t>
            </a:r>
            <a:endParaRPr kumimoji="0" lang="en-US" sz="9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1" name="Rectangle 10">
            <a:extLst>
              <a:ext uri="{FF2B5EF4-FFF2-40B4-BE49-F238E27FC236}">
                <a16:creationId xmlns:a16="http://schemas.microsoft.com/office/drawing/2014/main" id="{B7E27C5F-DC8E-3DCE-9B4C-ECB918F8E080}"/>
              </a:ext>
            </a:extLst>
          </p:cNvPr>
          <p:cNvSpPr/>
          <p:nvPr/>
        </p:nvSpPr>
        <p:spPr>
          <a:xfrm>
            <a:off x="5161653" y="4833410"/>
            <a:ext cx="1295970" cy="310504"/>
          </a:xfrm>
          <a:prstGeom prst="rect">
            <a:avLst/>
          </a:prstGeom>
          <a:noFill/>
          <a:ln w="190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ublish Test Results</a:t>
            </a:r>
            <a:endParaRPr kumimoji="0" lang="en-US" sz="9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2" name="Rectangle 11">
            <a:extLst>
              <a:ext uri="{FF2B5EF4-FFF2-40B4-BE49-F238E27FC236}">
                <a16:creationId xmlns:a16="http://schemas.microsoft.com/office/drawing/2014/main" id="{E4BCBE74-858E-CD4F-F19A-CA9930E6A584}"/>
              </a:ext>
            </a:extLst>
          </p:cNvPr>
          <p:cNvSpPr/>
          <p:nvPr/>
        </p:nvSpPr>
        <p:spPr>
          <a:xfrm>
            <a:off x="7674642" y="4567383"/>
            <a:ext cx="1906511" cy="1578181"/>
          </a:xfrm>
          <a:prstGeom prst="rect">
            <a:avLst/>
          </a:prstGeom>
          <a:noFill/>
          <a:ln w="190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3" name="Rectangle 12">
            <a:extLst>
              <a:ext uri="{FF2B5EF4-FFF2-40B4-BE49-F238E27FC236}">
                <a16:creationId xmlns:a16="http://schemas.microsoft.com/office/drawing/2014/main" id="{4E9C5116-314C-F88F-B84C-312BA550C8CC}"/>
              </a:ext>
            </a:extLst>
          </p:cNvPr>
          <p:cNvSpPr/>
          <p:nvPr/>
        </p:nvSpPr>
        <p:spPr>
          <a:xfrm>
            <a:off x="9810736" y="3060070"/>
            <a:ext cx="1580808" cy="1578181"/>
          </a:xfrm>
          <a:prstGeom prst="rect">
            <a:avLst/>
          </a:prstGeom>
          <a:noFill/>
          <a:ln w="190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4" name="Rectangle 13">
            <a:extLst>
              <a:ext uri="{FF2B5EF4-FFF2-40B4-BE49-F238E27FC236}">
                <a16:creationId xmlns:a16="http://schemas.microsoft.com/office/drawing/2014/main" id="{2A066A54-621F-03FA-18F3-897A9A3CD32A}"/>
              </a:ext>
            </a:extLst>
          </p:cNvPr>
          <p:cNvSpPr/>
          <p:nvPr/>
        </p:nvSpPr>
        <p:spPr>
          <a:xfrm>
            <a:off x="7554080" y="1838973"/>
            <a:ext cx="1580808" cy="1578181"/>
          </a:xfrm>
          <a:prstGeom prst="rect">
            <a:avLst/>
          </a:prstGeom>
          <a:noFill/>
          <a:ln w="190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5" name="Rectangle 14">
            <a:extLst>
              <a:ext uri="{FF2B5EF4-FFF2-40B4-BE49-F238E27FC236}">
                <a16:creationId xmlns:a16="http://schemas.microsoft.com/office/drawing/2014/main" id="{B5EF874B-BA69-321F-E75D-03E4E3932876}"/>
              </a:ext>
            </a:extLst>
          </p:cNvPr>
          <p:cNvSpPr/>
          <p:nvPr/>
        </p:nvSpPr>
        <p:spPr>
          <a:xfrm>
            <a:off x="2489695" y="4641809"/>
            <a:ext cx="1793672" cy="1500227"/>
          </a:xfrm>
          <a:prstGeom prst="rect">
            <a:avLst/>
          </a:prstGeom>
          <a:noFill/>
          <a:ln w="190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8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est Sign-Off</a:t>
            </a:r>
            <a:endParaRPr kumimoji="0" lang="en-US" sz="9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6" name="Rectangle 15">
            <a:extLst>
              <a:ext uri="{FF2B5EF4-FFF2-40B4-BE49-F238E27FC236}">
                <a16:creationId xmlns:a16="http://schemas.microsoft.com/office/drawing/2014/main" id="{31AB002A-4994-9A9F-5977-3081355496FD}"/>
              </a:ext>
            </a:extLst>
          </p:cNvPr>
          <p:cNvSpPr/>
          <p:nvPr/>
        </p:nvSpPr>
        <p:spPr>
          <a:xfrm rot="2694293">
            <a:off x="3356837" y="2154212"/>
            <a:ext cx="1180336" cy="1050839"/>
          </a:xfrm>
          <a:prstGeom prst="rect">
            <a:avLst/>
          </a:prstGeom>
          <a:noFill/>
          <a:ln w="19050" cap="flat" cmpd="sng" algn="ctr">
            <a:solidFill>
              <a:srgbClr val="263147"/>
            </a:solidFill>
            <a:prstDash val="solid"/>
          </a:ln>
          <a:effectLst/>
        </p:spPr>
        <p:txBody>
          <a:bodyPr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263147"/>
              </a:solidFill>
              <a:effectLst/>
              <a:uLnTx/>
              <a:uFillTx/>
              <a:latin typeface="Segoe UI" panose="020B0502040204020203" pitchFamily="34" charset="0"/>
              <a:ea typeface="+mn-ea"/>
              <a:cs typeface="Segoe UI" panose="020B0502040204020203" pitchFamily="34" charset="0"/>
            </a:endParaRPr>
          </a:p>
        </p:txBody>
      </p:sp>
      <p:grpSp>
        <p:nvGrpSpPr>
          <p:cNvPr id="17" name="Group 16">
            <a:extLst>
              <a:ext uri="{FF2B5EF4-FFF2-40B4-BE49-F238E27FC236}">
                <a16:creationId xmlns:a16="http://schemas.microsoft.com/office/drawing/2014/main" id="{AD66A4A7-B36E-2D5B-B6FD-81E712A6AE0B}"/>
              </a:ext>
            </a:extLst>
          </p:cNvPr>
          <p:cNvGrpSpPr/>
          <p:nvPr/>
        </p:nvGrpSpPr>
        <p:grpSpPr>
          <a:xfrm>
            <a:off x="285892" y="1376714"/>
            <a:ext cx="2549989" cy="2365723"/>
            <a:chOff x="138711" y="878653"/>
            <a:chExt cx="3274772" cy="2438400"/>
          </a:xfrm>
        </p:grpSpPr>
        <p:sp>
          <p:nvSpPr>
            <p:cNvPr id="18" name="Rectangle 17">
              <a:extLst>
                <a:ext uri="{FF2B5EF4-FFF2-40B4-BE49-F238E27FC236}">
                  <a16:creationId xmlns:a16="http://schemas.microsoft.com/office/drawing/2014/main" id="{65C5858E-A676-BCEB-0797-D712D9907C46}"/>
                </a:ext>
              </a:extLst>
            </p:cNvPr>
            <p:cNvSpPr/>
            <p:nvPr/>
          </p:nvSpPr>
          <p:spPr bwMode="auto">
            <a:xfrm>
              <a:off x="138711" y="878653"/>
              <a:ext cx="3274772" cy="2438400"/>
            </a:xfrm>
            <a:prstGeom prst="rect">
              <a:avLst/>
            </a:prstGeom>
            <a:noFill/>
            <a:ln w="19050" cap="flat" cmpd="sng" algn="ctr">
              <a:solidFill>
                <a:schemeClr val="tx2">
                  <a:lumMod val="60000"/>
                  <a:lumOff val="40000"/>
                </a:schemeClr>
              </a:solidFill>
              <a:prstDash val="solid"/>
            </a:ln>
            <a:effec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ysClr val="window" lastClr="FFFFFF"/>
                </a:solidFill>
                <a:effectLst/>
                <a:uLnTx/>
                <a:uFillTx/>
                <a:latin typeface="Segoe UI" panose="020B0502040204020203" pitchFamily="34" charset="0"/>
                <a:ea typeface="+mn-ea"/>
                <a:cs typeface="Segoe UI" panose="020B0502040204020203" pitchFamily="34" charset="0"/>
              </a:endParaRPr>
            </a:p>
          </p:txBody>
        </p:sp>
        <p:sp>
          <p:nvSpPr>
            <p:cNvPr id="19" name="Cube 18">
              <a:extLst>
                <a:ext uri="{FF2B5EF4-FFF2-40B4-BE49-F238E27FC236}">
                  <a16:creationId xmlns:a16="http://schemas.microsoft.com/office/drawing/2014/main" id="{0F23F34C-2172-FCDE-9D77-9A62FF6C448D}"/>
                </a:ext>
              </a:extLst>
            </p:cNvPr>
            <p:cNvSpPr/>
            <p:nvPr/>
          </p:nvSpPr>
          <p:spPr bwMode="auto">
            <a:xfrm>
              <a:off x="254289" y="1619987"/>
              <a:ext cx="853633" cy="1602126"/>
            </a:xfrm>
            <a:prstGeom prst="cube">
              <a:avLst>
                <a:gd name="adj" fmla="val 37729"/>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vert270" wrap="none" anchor="ctr"/>
            <a:lstStyle/>
            <a:p>
              <a:pPr marL="0" marR="0" lvl="0" indent="0" algn="ctr" defTabSz="957756" rtl="0" eaLnBrk="0" fontAlgn="auto" latinLnBrk="0" hangingPunct="0">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ysClr val="window" lastClr="FFFFFF"/>
                  </a:solidFill>
                  <a:effectLst/>
                  <a:uLnTx/>
                  <a:uFillTx/>
                  <a:latin typeface="Segoe UI" panose="020B0502040204020203" pitchFamily="34" charset="0"/>
                  <a:ea typeface="+mn-ea"/>
                  <a:cs typeface="Segoe UI" panose="020B0502040204020203" pitchFamily="34" charset="0"/>
                </a:rPr>
                <a:t>Test Cases Repository</a:t>
              </a:r>
            </a:p>
          </p:txBody>
        </p:sp>
        <p:sp>
          <p:nvSpPr>
            <p:cNvPr id="20" name="Cube 19">
              <a:extLst>
                <a:ext uri="{FF2B5EF4-FFF2-40B4-BE49-F238E27FC236}">
                  <a16:creationId xmlns:a16="http://schemas.microsoft.com/office/drawing/2014/main" id="{87CC469C-365E-41E3-A34C-1425D394FE0A}"/>
                </a:ext>
              </a:extLst>
            </p:cNvPr>
            <p:cNvSpPr/>
            <p:nvPr/>
          </p:nvSpPr>
          <p:spPr bwMode="auto">
            <a:xfrm>
              <a:off x="2543058" y="1619987"/>
              <a:ext cx="677270" cy="1602123"/>
            </a:xfrm>
            <a:prstGeom prst="cube">
              <a:avLst>
                <a:gd name="adj" fmla="val 37729"/>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wrap="none" anchor="ctr"/>
            <a:lstStyle/>
            <a:p>
              <a:pPr marL="0" marR="0" lvl="0" indent="0" algn="ctr" defTabSz="957756" rtl="0" eaLnBrk="0" fontAlgn="auto" latinLnBrk="0" hangingPunct="0">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21" name="TextBox 20">
              <a:extLst>
                <a:ext uri="{FF2B5EF4-FFF2-40B4-BE49-F238E27FC236}">
                  <a16:creationId xmlns:a16="http://schemas.microsoft.com/office/drawing/2014/main" id="{856946B7-5E2A-A299-BBA9-94BE589E49E6}"/>
                </a:ext>
              </a:extLst>
            </p:cNvPr>
            <p:cNvSpPr txBox="1"/>
            <p:nvPr/>
          </p:nvSpPr>
          <p:spPr bwMode="auto">
            <a:xfrm>
              <a:off x="1034899" y="2469046"/>
              <a:ext cx="1508786" cy="775475"/>
            </a:xfrm>
            <a:prstGeom prst="rect">
              <a:avLst/>
            </a:prstGeom>
            <a:noFill/>
          </p:spPr>
          <p:txBody>
            <a:bodyPr wrap="square">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rioritization and updates of Test cases/Business </a:t>
              </a:r>
              <a:b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9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ritical Processes</a:t>
              </a:r>
            </a:p>
          </p:txBody>
        </p:sp>
        <p:cxnSp>
          <p:nvCxnSpPr>
            <p:cNvPr id="22" name="Straight Arrow Connector 21">
              <a:extLst>
                <a:ext uri="{FF2B5EF4-FFF2-40B4-BE49-F238E27FC236}">
                  <a16:creationId xmlns:a16="http://schemas.microsoft.com/office/drawing/2014/main" id="{B555B9D3-8591-2122-EE93-B06F1950ACF9}"/>
                </a:ext>
              </a:extLst>
            </p:cNvPr>
            <p:cNvCxnSpPr>
              <a:cxnSpLocks/>
              <a:stCxn id="19" idx="5"/>
            </p:cNvCxnSpPr>
            <p:nvPr/>
          </p:nvCxnSpPr>
          <p:spPr bwMode="auto">
            <a:xfrm>
              <a:off x="1107922" y="2299569"/>
              <a:ext cx="1435136" cy="2860"/>
            </a:xfrm>
            <a:prstGeom prst="straightConnector1">
              <a:avLst/>
            </a:prstGeom>
            <a:noFill/>
            <a:ln w="19050" cap="flat" cmpd="sng" algn="ctr">
              <a:solidFill>
                <a:schemeClr val="tx1">
                  <a:lumMod val="95000"/>
                  <a:lumOff val="5000"/>
                </a:schemeClr>
              </a:solidFill>
              <a:prstDash val="solid"/>
              <a:headEnd type="none" w="med" len="med"/>
              <a:tailEnd type="arrow" w="med" len="med"/>
            </a:ln>
            <a:effectLst/>
          </p:spPr>
        </p:cxnSp>
        <p:sp>
          <p:nvSpPr>
            <p:cNvPr id="23" name="TextBox 22">
              <a:extLst>
                <a:ext uri="{FF2B5EF4-FFF2-40B4-BE49-F238E27FC236}">
                  <a16:creationId xmlns:a16="http://schemas.microsoft.com/office/drawing/2014/main" id="{84961EF6-7EAD-5390-FE88-DE72797856D7}"/>
                </a:ext>
              </a:extLst>
            </p:cNvPr>
            <p:cNvSpPr txBox="1"/>
            <p:nvPr/>
          </p:nvSpPr>
          <p:spPr bwMode="auto">
            <a:xfrm rot="16200000">
              <a:off x="2067475" y="2351430"/>
              <a:ext cx="1418256" cy="290821"/>
            </a:xfrm>
            <a:prstGeom prst="rect">
              <a:avLst/>
            </a:prstGeom>
            <a:noFill/>
          </p:spPr>
          <p:txBody>
            <a:bodyPr wrap="square" anchor="ctr">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ysClr val="window" lastClr="FFFFFF"/>
                  </a:solidFill>
                  <a:effectLst/>
                  <a:uLnTx/>
                  <a:uFillTx/>
                  <a:latin typeface="Segoe UI" panose="020B0502040204020203" pitchFamily="34" charset="0"/>
                  <a:ea typeface="+mn-ea"/>
                  <a:cs typeface="Segoe UI" panose="020B0502040204020203" pitchFamily="34" charset="0"/>
                </a:rPr>
                <a:t>Regression test suite</a:t>
              </a:r>
            </a:p>
          </p:txBody>
        </p:sp>
        <p:grpSp>
          <p:nvGrpSpPr>
            <p:cNvPr id="24" name="Group 23">
              <a:extLst>
                <a:ext uri="{FF2B5EF4-FFF2-40B4-BE49-F238E27FC236}">
                  <a16:creationId xmlns:a16="http://schemas.microsoft.com/office/drawing/2014/main" id="{5A7A566E-2FC4-159F-CCF2-02BEC5A8A262}"/>
                </a:ext>
              </a:extLst>
            </p:cNvPr>
            <p:cNvGrpSpPr/>
            <p:nvPr/>
          </p:nvGrpSpPr>
          <p:grpSpPr>
            <a:xfrm>
              <a:off x="1538527" y="2028205"/>
              <a:ext cx="567028" cy="231808"/>
              <a:chOff x="1392620" y="1522622"/>
              <a:chExt cx="567028" cy="231808"/>
            </a:xfrm>
          </p:grpSpPr>
          <p:sp>
            <p:nvSpPr>
              <p:cNvPr id="28" name="Freeform 171">
                <a:extLst>
                  <a:ext uri="{FF2B5EF4-FFF2-40B4-BE49-F238E27FC236}">
                    <a16:creationId xmlns:a16="http://schemas.microsoft.com/office/drawing/2014/main" id="{DFA7AA09-6C6E-E89E-A2E5-C63471F79AC9}"/>
                  </a:ext>
                </a:extLst>
              </p:cNvPr>
              <p:cNvSpPr>
                <a:spLocks/>
              </p:cNvSpPr>
              <p:nvPr/>
            </p:nvSpPr>
            <p:spPr bwMode="auto">
              <a:xfrm>
                <a:off x="1392620" y="1522622"/>
                <a:ext cx="166774" cy="231808"/>
              </a:xfrm>
              <a:custGeom>
                <a:avLst/>
                <a:gdLst>
                  <a:gd name="T0" fmla="*/ 127614 w 77"/>
                  <a:gd name="T1" fmla="*/ 177986 h 106"/>
                  <a:gd name="T2" fmla="*/ 127614 w 77"/>
                  <a:gd name="T3" fmla="*/ 177986 h 106"/>
                  <a:gd name="T4" fmla="*/ 125957 w 77"/>
                  <a:gd name="T5" fmla="*/ 149441 h 106"/>
                  <a:gd name="T6" fmla="*/ 124299 w 77"/>
                  <a:gd name="T7" fmla="*/ 132650 h 106"/>
                  <a:gd name="T8" fmla="*/ 119327 w 77"/>
                  <a:gd name="T9" fmla="*/ 119217 h 106"/>
                  <a:gd name="T10" fmla="*/ 111041 w 77"/>
                  <a:gd name="T11" fmla="*/ 105784 h 106"/>
                  <a:gd name="T12" fmla="*/ 104411 w 77"/>
                  <a:gd name="T13" fmla="*/ 94030 h 106"/>
                  <a:gd name="T14" fmla="*/ 91153 w 77"/>
                  <a:gd name="T15" fmla="*/ 85635 h 106"/>
                  <a:gd name="T16" fmla="*/ 77894 w 77"/>
                  <a:gd name="T17" fmla="*/ 77239 h 106"/>
                  <a:gd name="T18" fmla="*/ 77894 w 77"/>
                  <a:gd name="T19" fmla="*/ 77239 h 106"/>
                  <a:gd name="T20" fmla="*/ 91153 w 77"/>
                  <a:gd name="T21" fmla="*/ 63806 h 106"/>
                  <a:gd name="T22" fmla="*/ 99439 w 77"/>
                  <a:gd name="T23" fmla="*/ 48694 h 106"/>
                  <a:gd name="T24" fmla="*/ 101097 w 77"/>
                  <a:gd name="T25" fmla="*/ 36940 h 106"/>
                  <a:gd name="T26" fmla="*/ 99439 w 77"/>
                  <a:gd name="T27" fmla="*/ 25187 h 106"/>
                  <a:gd name="T28" fmla="*/ 92810 w 77"/>
                  <a:gd name="T29" fmla="*/ 15112 h 106"/>
                  <a:gd name="T30" fmla="*/ 86181 w 77"/>
                  <a:gd name="T31" fmla="*/ 6716 h 106"/>
                  <a:gd name="T32" fmla="*/ 77894 w 77"/>
                  <a:gd name="T33" fmla="*/ 1679 h 106"/>
                  <a:gd name="T34" fmla="*/ 64636 w 77"/>
                  <a:gd name="T35" fmla="*/ 0 h 106"/>
                  <a:gd name="T36" fmla="*/ 64636 w 77"/>
                  <a:gd name="T37" fmla="*/ 0 h 106"/>
                  <a:gd name="T38" fmla="*/ 54692 w 77"/>
                  <a:gd name="T39" fmla="*/ 1679 h 106"/>
                  <a:gd name="T40" fmla="*/ 44748 w 77"/>
                  <a:gd name="T41" fmla="*/ 6716 h 106"/>
                  <a:gd name="T42" fmla="*/ 36461 w 77"/>
                  <a:gd name="T43" fmla="*/ 15112 h 106"/>
                  <a:gd name="T44" fmla="*/ 31489 w 77"/>
                  <a:gd name="T45" fmla="*/ 25187 h 106"/>
                  <a:gd name="T46" fmla="*/ 28175 w 77"/>
                  <a:gd name="T47" fmla="*/ 35261 h 106"/>
                  <a:gd name="T48" fmla="*/ 31489 w 77"/>
                  <a:gd name="T49" fmla="*/ 48694 h 106"/>
                  <a:gd name="T50" fmla="*/ 39776 w 77"/>
                  <a:gd name="T51" fmla="*/ 63806 h 106"/>
                  <a:gd name="T52" fmla="*/ 51377 w 77"/>
                  <a:gd name="T53" fmla="*/ 77239 h 106"/>
                  <a:gd name="T54" fmla="*/ 51377 w 77"/>
                  <a:gd name="T55" fmla="*/ 77239 h 106"/>
                  <a:gd name="T56" fmla="*/ 36461 w 77"/>
                  <a:gd name="T57" fmla="*/ 85635 h 106"/>
                  <a:gd name="T58" fmla="*/ 26517 w 77"/>
                  <a:gd name="T59" fmla="*/ 94030 h 106"/>
                  <a:gd name="T60" fmla="*/ 16573 w 77"/>
                  <a:gd name="T61" fmla="*/ 105784 h 106"/>
                  <a:gd name="T62" fmla="*/ 9944 w 77"/>
                  <a:gd name="T63" fmla="*/ 119217 h 106"/>
                  <a:gd name="T64" fmla="*/ 6629 w 77"/>
                  <a:gd name="T65" fmla="*/ 132650 h 106"/>
                  <a:gd name="T66" fmla="*/ 4972 w 77"/>
                  <a:gd name="T67" fmla="*/ 149441 h 106"/>
                  <a:gd name="T68" fmla="*/ 0 w 77"/>
                  <a:gd name="T69" fmla="*/ 177986 h 10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7"/>
                  <a:gd name="T106" fmla="*/ 0 h 106"/>
                  <a:gd name="T107" fmla="*/ 77 w 77"/>
                  <a:gd name="T108" fmla="*/ 106 h 10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7" h="106">
                    <a:moveTo>
                      <a:pt x="77" y="106"/>
                    </a:moveTo>
                    <a:lnTo>
                      <a:pt x="77" y="106"/>
                    </a:lnTo>
                    <a:lnTo>
                      <a:pt x="76" y="89"/>
                    </a:lnTo>
                    <a:lnTo>
                      <a:pt x="75" y="79"/>
                    </a:lnTo>
                    <a:lnTo>
                      <a:pt x="72" y="71"/>
                    </a:lnTo>
                    <a:lnTo>
                      <a:pt x="67" y="63"/>
                    </a:lnTo>
                    <a:lnTo>
                      <a:pt x="63" y="56"/>
                    </a:lnTo>
                    <a:lnTo>
                      <a:pt x="55" y="51"/>
                    </a:lnTo>
                    <a:lnTo>
                      <a:pt x="47" y="46"/>
                    </a:lnTo>
                    <a:lnTo>
                      <a:pt x="55" y="38"/>
                    </a:lnTo>
                    <a:lnTo>
                      <a:pt x="60" y="29"/>
                    </a:lnTo>
                    <a:lnTo>
                      <a:pt x="61" y="22"/>
                    </a:lnTo>
                    <a:lnTo>
                      <a:pt x="60" y="15"/>
                    </a:lnTo>
                    <a:lnTo>
                      <a:pt x="56" y="9"/>
                    </a:lnTo>
                    <a:lnTo>
                      <a:pt x="52" y="4"/>
                    </a:lnTo>
                    <a:lnTo>
                      <a:pt x="47" y="1"/>
                    </a:lnTo>
                    <a:lnTo>
                      <a:pt x="39" y="0"/>
                    </a:lnTo>
                    <a:lnTo>
                      <a:pt x="33" y="1"/>
                    </a:lnTo>
                    <a:lnTo>
                      <a:pt x="27" y="4"/>
                    </a:lnTo>
                    <a:lnTo>
                      <a:pt x="22" y="9"/>
                    </a:lnTo>
                    <a:lnTo>
                      <a:pt x="19" y="15"/>
                    </a:lnTo>
                    <a:lnTo>
                      <a:pt x="17" y="21"/>
                    </a:lnTo>
                    <a:lnTo>
                      <a:pt x="19" y="29"/>
                    </a:lnTo>
                    <a:lnTo>
                      <a:pt x="24" y="38"/>
                    </a:lnTo>
                    <a:lnTo>
                      <a:pt x="31" y="46"/>
                    </a:lnTo>
                    <a:lnTo>
                      <a:pt x="22" y="51"/>
                    </a:lnTo>
                    <a:lnTo>
                      <a:pt x="16" y="56"/>
                    </a:lnTo>
                    <a:lnTo>
                      <a:pt x="10" y="63"/>
                    </a:lnTo>
                    <a:lnTo>
                      <a:pt x="6" y="71"/>
                    </a:lnTo>
                    <a:lnTo>
                      <a:pt x="4" y="79"/>
                    </a:lnTo>
                    <a:lnTo>
                      <a:pt x="3" y="89"/>
                    </a:lnTo>
                    <a:lnTo>
                      <a:pt x="0" y="106"/>
                    </a:lnTo>
                  </a:path>
                </a:pathLst>
              </a:custGeom>
              <a:solidFill>
                <a:sysClr val="window" lastClr="FFFFFF"/>
              </a:solidFill>
              <a:ln w="19050">
                <a:solidFill>
                  <a:srgbClr val="0098C7"/>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29" name="Freeform 172">
                <a:extLst>
                  <a:ext uri="{FF2B5EF4-FFF2-40B4-BE49-F238E27FC236}">
                    <a16:creationId xmlns:a16="http://schemas.microsoft.com/office/drawing/2014/main" id="{792CE2DB-8F83-DE2B-97B7-D9CC562E67E4}"/>
                  </a:ext>
                </a:extLst>
              </p:cNvPr>
              <p:cNvSpPr>
                <a:spLocks/>
              </p:cNvSpPr>
              <p:nvPr/>
            </p:nvSpPr>
            <p:spPr bwMode="auto">
              <a:xfrm>
                <a:off x="1587391" y="1522622"/>
                <a:ext cx="166774" cy="231808"/>
              </a:xfrm>
              <a:custGeom>
                <a:avLst/>
                <a:gdLst>
                  <a:gd name="T0" fmla="*/ 127614 w 76"/>
                  <a:gd name="T1" fmla="*/ 177986 h 106"/>
                  <a:gd name="T2" fmla="*/ 127614 w 76"/>
                  <a:gd name="T3" fmla="*/ 177986 h 106"/>
                  <a:gd name="T4" fmla="*/ 127614 w 76"/>
                  <a:gd name="T5" fmla="*/ 164553 h 106"/>
                  <a:gd name="T6" fmla="*/ 127614 w 76"/>
                  <a:gd name="T7" fmla="*/ 149441 h 106"/>
                  <a:gd name="T8" fmla="*/ 122577 w 76"/>
                  <a:gd name="T9" fmla="*/ 132650 h 106"/>
                  <a:gd name="T10" fmla="*/ 119218 w 76"/>
                  <a:gd name="T11" fmla="*/ 119217 h 106"/>
                  <a:gd name="T12" fmla="*/ 112502 w 76"/>
                  <a:gd name="T13" fmla="*/ 105784 h 106"/>
                  <a:gd name="T14" fmla="*/ 104106 w 76"/>
                  <a:gd name="T15" fmla="*/ 94030 h 106"/>
                  <a:gd name="T16" fmla="*/ 92352 w 76"/>
                  <a:gd name="T17" fmla="*/ 85635 h 106"/>
                  <a:gd name="T18" fmla="*/ 78919 w 76"/>
                  <a:gd name="T19" fmla="*/ 77239 h 106"/>
                  <a:gd name="T20" fmla="*/ 78919 w 76"/>
                  <a:gd name="T21" fmla="*/ 77239 h 106"/>
                  <a:gd name="T22" fmla="*/ 92352 w 76"/>
                  <a:gd name="T23" fmla="*/ 63806 h 106"/>
                  <a:gd name="T24" fmla="*/ 99069 w 76"/>
                  <a:gd name="T25" fmla="*/ 47015 h 106"/>
                  <a:gd name="T26" fmla="*/ 100748 w 76"/>
                  <a:gd name="T27" fmla="*/ 35261 h 106"/>
                  <a:gd name="T28" fmla="*/ 99069 w 76"/>
                  <a:gd name="T29" fmla="*/ 21828 h 106"/>
                  <a:gd name="T30" fmla="*/ 92352 w 76"/>
                  <a:gd name="T31" fmla="*/ 11754 h 106"/>
                  <a:gd name="T32" fmla="*/ 83957 w 76"/>
                  <a:gd name="T33" fmla="*/ 6716 h 106"/>
                  <a:gd name="T34" fmla="*/ 75561 w 76"/>
                  <a:gd name="T35" fmla="*/ 1679 h 106"/>
                  <a:gd name="T36" fmla="*/ 65486 w 76"/>
                  <a:gd name="T37" fmla="*/ 0 h 106"/>
                  <a:gd name="T38" fmla="*/ 65486 w 76"/>
                  <a:gd name="T39" fmla="*/ 0 h 106"/>
                  <a:gd name="T40" fmla="*/ 53732 w 76"/>
                  <a:gd name="T41" fmla="*/ 1679 h 106"/>
                  <a:gd name="T42" fmla="*/ 45337 w 76"/>
                  <a:gd name="T43" fmla="*/ 6716 h 106"/>
                  <a:gd name="T44" fmla="*/ 36941 w 76"/>
                  <a:gd name="T45" fmla="*/ 15112 h 106"/>
                  <a:gd name="T46" fmla="*/ 30224 w 76"/>
                  <a:gd name="T47" fmla="*/ 25187 h 106"/>
                  <a:gd name="T48" fmla="*/ 28545 w 76"/>
                  <a:gd name="T49" fmla="*/ 36940 h 106"/>
                  <a:gd name="T50" fmla="*/ 30224 w 76"/>
                  <a:gd name="T51" fmla="*/ 48694 h 106"/>
                  <a:gd name="T52" fmla="*/ 36941 w 76"/>
                  <a:gd name="T53" fmla="*/ 63806 h 106"/>
                  <a:gd name="T54" fmla="*/ 48695 w 76"/>
                  <a:gd name="T55" fmla="*/ 77239 h 106"/>
                  <a:gd name="T56" fmla="*/ 48695 w 76"/>
                  <a:gd name="T57" fmla="*/ 77239 h 106"/>
                  <a:gd name="T58" fmla="*/ 35262 w 76"/>
                  <a:gd name="T59" fmla="*/ 85635 h 106"/>
                  <a:gd name="T60" fmla="*/ 25187 w 76"/>
                  <a:gd name="T61" fmla="*/ 94030 h 106"/>
                  <a:gd name="T62" fmla="*/ 16791 w 76"/>
                  <a:gd name="T63" fmla="*/ 105784 h 106"/>
                  <a:gd name="T64" fmla="*/ 8396 w 76"/>
                  <a:gd name="T65" fmla="*/ 119217 h 106"/>
                  <a:gd name="T66" fmla="*/ 5037 w 76"/>
                  <a:gd name="T67" fmla="*/ 132650 h 106"/>
                  <a:gd name="T68" fmla="*/ 1679 w 76"/>
                  <a:gd name="T69" fmla="*/ 149441 h 106"/>
                  <a:gd name="T70" fmla="*/ 0 w 76"/>
                  <a:gd name="T71" fmla="*/ 164553 h 106"/>
                  <a:gd name="T72" fmla="*/ 0 w 76"/>
                  <a:gd name="T73" fmla="*/ 177986 h 10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6"/>
                  <a:gd name="T112" fmla="*/ 0 h 106"/>
                  <a:gd name="T113" fmla="*/ 76 w 76"/>
                  <a:gd name="T114" fmla="*/ 106 h 10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6" h="106">
                    <a:moveTo>
                      <a:pt x="76" y="106"/>
                    </a:moveTo>
                    <a:lnTo>
                      <a:pt x="76" y="106"/>
                    </a:lnTo>
                    <a:lnTo>
                      <a:pt x="76" y="98"/>
                    </a:lnTo>
                    <a:lnTo>
                      <a:pt x="76" y="89"/>
                    </a:lnTo>
                    <a:lnTo>
                      <a:pt x="73" y="79"/>
                    </a:lnTo>
                    <a:lnTo>
                      <a:pt x="71" y="71"/>
                    </a:lnTo>
                    <a:lnTo>
                      <a:pt x="67" y="63"/>
                    </a:lnTo>
                    <a:lnTo>
                      <a:pt x="62" y="56"/>
                    </a:lnTo>
                    <a:lnTo>
                      <a:pt x="55" y="51"/>
                    </a:lnTo>
                    <a:lnTo>
                      <a:pt x="47" y="46"/>
                    </a:lnTo>
                    <a:lnTo>
                      <a:pt x="55" y="38"/>
                    </a:lnTo>
                    <a:lnTo>
                      <a:pt x="59" y="28"/>
                    </a:lnTo>
                    <a:lnTo>
                      <a:pt x="60" y="21"/>
                    </a:lnTo>
                    <a:lnTo>
                      <a:pt x="59" y="13"/>
                    </a:lnTo>
                    <a:lnTo>
                      <a:pt x="55" y="7"/>
                    </a:lnTo>
                    <a:lnTo>
                      <a:pt x="50" y="4"/>
                    </a:lnTo>
                    <a:lnTo>
                      <a:pt x="45" y="1"/>
                    </a:lnTo>
                    <a:lnTo>
                      <a:pt x="39" y="0"/>
                    </a:lnTo>
                    <a:lnTo>
                      <a:pt x="32" y="1"/>
                    </a:lnTo>
                    <a:lnTo>
                      <a:pt x="27" y="4"/>
                    </a:lnTo>
                    <a:lnTo>
                      <a:pt x="22" y="9"/>
                    </a:lnTo>
                    <a:lnTo>
                      <a:pt x="18" y="15"/>
                    </a:lnTo>
                    <a:lnTo>
                      <a:pt x="17" y="22"/>
                    </a:lnTo>
                    <a:lnTo>
                      <a:pt x="18" y="29"/>
                    </a:lnTo>
                    <a:lnTo>
                      <a:pt x="22" y="38"/>
                    </a:lnTo>
                    <a:lnTo>
                      <a:pt x="29" y="46"/>
                    </a:lnTo>
                    <a:lnTo>
                      <a:pt x="21" y="51"/>
                    </a:lnTo>
                    <a:lnTo>
                      <a:pt x="15" y="56"/>
                    </a:lnTo>
                    <a:lnTo>
                      <a:pt x="10" y="63"/>
                    </a:lnTo>
                    <a:lnTo>
                      <a:pt x="5" y="71"/>
                    </a:lnTo>
                    <a:lnTo>
                      <a:pt x="3" y="79"/>
                    </a:lnTo>
                    <a:lnTo>
                      <a:pt x="1" y="89"/>
                    </a:lnTo>
                    <a:lnTo>
                      <a:pt x="0" y="98"/>
                    </a:lnTo>
                    <a:lnTo>
                      <a:pt x="0" y="106"/>
                    </a:lnTo>
                  </a:path>
                </a:pathLst>
              </a:custGeom>
              <a:solidFill>
                <a:sysClr val="window" lastClr="FFFFFF"/>
              </a:solidFill>
              <a:ln w="19050">
                <a:solidFill>
                  <a:srgbClr val="0098C7"/>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30" name="Freeform 173">
                <a:extLst>
                  <a:ext uri="{FF2B5EF4-FFF2-40B4-BE49-F238E27FC236}">
                    <a16:creationId xmlns:a16="http://schemas.microsoft.com/office/drawing/2014/main" id="{72E3E4A1-71AD-0F5D-B84F-7EF1F75776B4}"/>
                  </a:ext>
                </a:extLst>
              </p:cNvPr>
              <p:cNvSpPr>
                <a:spLocks/>
              </p:cNvSpPr>
              <p:nvPr/>
            </p:nvSpPr>
            <p:spPr bwMode="auto">
              <a:xfrm>
                <a:off x="1792874" y="1522622"/>
                <a:ext cx="166774" cy="231808"/>
              </a:xfrm>
              <a:custGeom>
                <a:avLst/>
                <a:gdLst>
                  <a:gd name="T0" fmla="*/ 127614 w 75"/>
                  <a:gd name="T1" fmla="*/ 177986 h 106"/>
                  <a:gd name="T2" fmla="*/ 127614 w 75"/>
                  <a:gd name="T3" fmla="*/ 177986 h 106"/>
                  <a:gd name="T4" fmla="*/ 127614 w 75"/>
                  <a:gd name="T5" fmla="*/ 164553 h 106"/>
                  <a:gd name="T6" fmla="*/ 127614 w 75"/>
                  <a:gd name="T7" fmla="*/ 149441 h 106"/>
                  <a:gd name="T8" fmla="*/ 125912 w 75"/>
                  <a:gd name="T9" fmla="*/ 132650 h 106"/>
                  <a:gd name="T10" fmla="*/ 120808 w 75"/>
                  <a:gd name="T11" fmla="*/ 119217 h 106"/>
                  <a:gd name="T12" fmla="*/ 114002 w 75"/>
                  <a:gd name="T13" fmla="*/ 105784 h 106"/>
                  <a:gd name="T14" fmla="*/ 105494 w 75"/>
                  <a:gd name="T15" fmla="*/ 94030 h 106"/>
                  <a:gd name="T16" fmla="*/ 93584 w 75"/>
                  <a:gd name="T17" fmla="*/ 85635 h 106"/>
                  <a:gd name="T18" fmla="*/ 78270 w 75"/>
                  <a:gd name="T19" fmla="*/ 77239 h 106"/>
                  <a:gd name="T20" fmla="*/ 78270 w 75"/>
                  <a:gd name="T21" fmla="*/ 77239 h 106"/>
                  <a:gd name="T22" fmla="*/ 93584 w 75"/>
                  <a:gd name="T23" fmla="*/ 63806 h 106"/>
                  <a:gd name="T24" fmla="*/ 98688 w 75"/>
                  <a:gd name="T25" fmla="*/ 48694 h 106"/>
                  <a:gd name="T26" fmla="*/ 102091 w 75"/>
                  <a:gd name="T27" fmla="*/ 36940 h 106"/>
                  <a:gd name="T28" fmla="*/ 98688 w 75"/>
                  <a:gd name="T29" fmla="*/ 25187 h 106"/>
                  <a:gd name="T30" fmla="*/ 95285 w 75"/>
                  <a:gd name="T31" fmla="*/ 15112 h 106"/>
                  <a:gd name="T32" fmla="*/ 86778 w 75"/>
                  <a:gd name="T33" fmla="*/ 6716 h 106"/>
                  <a:gd name="T34" fmla="*/ 76568 w 75"/>
                  <a:gd name="T35" fmla="*/ 1679 h 106"/>
                  <a:gd name="T36" fmla="*/ 66359 w 75"/>
                  <a:gd name="T37" fmla="*/ 0 h 106"/>
                  <a:gd name="T38" fmla="*/ 66359 w 75"/>
                  <a:gd name="T39" fmla="*/ 0 h 106"/>
                  <a:gd name="T40" fmla="*/ 56150 w 75"/>
                  <a:gd name="T41" fmla="*/ 0 h 106"/>
                  <a:gd name="T42" fmla="*/ 45941 w 75"/>
                  <a:gd name="T43" fmla="*/ 6716 h 106"/>
                  <a:gd name="T44" fmla="*/ 37433 w 75"/>
                  <a:gd name="T45" fmla="*/ 11754 h 106"/>
                  <a:gd name="T46" fmla="*/ 30627 w 75"/>
                  <a:gd name="T47" fmla="*/ 21828 h 106"/>
                  <a:gd name="T48" fmla="*/ 28926 w 75"/>
                  <a:gd name="T49" fmla="*/ 35261 h 106"/>
                  <a:gd name="T50" fmla="*/ 30627 w 75"/>
                  <a:gd name="T51" fmla="*/ 47015 h 106"/>
                  <a:gd name="T52" fmla="*/ 37433 w 75"/>
                  <a:gd name="T53" fmla="*/ 62127 h 106"/>
                  <a:gd name="T54" fmla="*/ 49344 w 75"/>
                  <a:gd name="T55" fmla="*/ 77239 h 106"/>
                  <a:gd name="T56" fmla="*/ 49344 w 75"/>
                  <a:gd name="T57" fmla="*/ 77239 h 106"/>
                  <a:gd name="T58" fmla="*/ 37433 w 75"/>
                  <a:gd name="T59" fmla="*/ 85635 h 106"/>
                  <a:gd name="T60" fmla="*/ 23821 w 75"/>
                  <a:gd name="T61" fmla="*/ 94030 h 106"/>
                  <a:gd name="T62" fmla="*/ 17015 w 75"/>
                  <a:gd name="T63" fmla="*/ 105784 h 106"/>
                  <a:gd name="T64" fmla="*/ 10209 w 75"/>
                  <a:gd name="T65" fmla="*/ 119217 h 106"/>
                  <a:gd name="T66" fmla="*/ 3403 w 75"/>
                  <a:gd name="T67" fmla="*/ 132650 h 106"/>
                  <a:gd name="T68" fmla="*/ 1702 w 75"/>
                  <a:gd name="T69" fmla="*/ 149441 h 106"/>
                  <a:gd name="T70" fmla="*/ 0 w 75"/>
                  <a:gd name="T71" fmla="*/ 164553 h 106"/>
                  <a:gd name="T72" fmla="*/ 0 w 75"/>
                  <a:gd name="T73" fmla="*/ 177986 h 10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5"/>
                  <a:gd name="T112" fmla="*/ 0 h 106"/>
                  <a:gd name="T113" fmla="*/ 75 w 75"/>
                  <a:gd name="T114" fmla="*/ 106 h 10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5" h="106">
                    <a:moveTo>
                      <a:pt x="75" y="106"/>
                    </a:moveTo>
                    <a:lnTo>
                      <a:pt x="75" y="106"/>
                    </a:lnTo>
                    <a:lnTo>
                      <a:pt x="75" y="98"/>
                    </a:lnTo>
                    <a:lnTo>
                      <a:pt x="75" y="89"/>
                    </a:lnTo>
                    <a:lnTo>
                      <a:pt x="74" y="79"/>
                    </a:lnTo>
                    <a:lnTo>
                      <a:pt x="71" y="71"/>
                    </a:lnTo>
                    <a:lnTo>
                      <a:pt x="67" y="63"/>
                    </a:lnTo>
                    <a:lnTo>
                      <a:pt x="62" y="56"/>
                    </a:lnTo>
                    <a:lnTo>
                      <a:pt x="55" y="51"/>
                    </a:lnTo>
                    <a:lnTo>
                      <a:pt x="46" y="46"/>
                    </a:lnTo>
                    <a:lnTo>
                      <a:pt x="55" y="38"/>
                    </a:lnTo>
                    <a:lnTo>
                      <a:pt x="58" y="29"/>
                    </a:lnTo>
                    <a:lnTo>
                      <a:pt x="60" y="22"/>
                    </a:lnTo>
                    <a:lnTo>
                      <a:pt x="58" y="15"/>
                    </a:lnTo>
                    <a:lnTo>
                      <a:pt x="56" y="9"/>
                    </a:lnTo>
                    <a:lnTo>
                      <a:pt x="51" y="4"/>
                    </a:lnTo>
                    <a:lnTo>
                      <a:pt x="45" y="1"/>
                    </a:lnTo>
                    <a:lnTo>
                      <a:pt x="39" y="0"/>
                    </a:lnTo>
                    <a:lnTo>
                      <a:pt x="33" y="0"/>
                    </a:lnTo>
                    <a:lnTo>
                      <a:pt x="27" y="4"/>
                    </a:lnTo>
                    <a:lnTo>
                      <a:pt x="22" y="7"/>
                    </a:lnTo>
                    <a:lnTo>
                      <a:pt x="18" y="13"/>
                    </a:lnTo>
                    <a:lnTo>
                      <a:pt x="17" y="21"/>
                    </a:lnTo>
                    <a:lnTo>
                      <a:pt x="18" y="28"/>
                    </a:lnTo>
                    <a:lnTo>
                      <a:pt x="22" y="37"/>
                    </a:lnTo>
                    <a:lnTo>
                      <a:pt x="29" y="46"/>
                    </a:lnTo>
                    <a:lnTo>
                      <a:pt x="22" y="51"/>
                    </a:lnTo>
                    <a:lnTo>
                      <a:pt x="14" y="56"/>
                    </a:lnTo>
                    <a:lnTo>
                      <a:pt x="10" y="63"/>
                    </a:lnTo>
                    <a:lnTo>
                      <a:pt x="6" y="71"/>
                    </a:lnTo>
                    <a:lnTo>
                      <a:pt x="2" y="79"/>
                    </a:lnTo>
                    <a:lnTo>
                      <a:pt x="1" y="89"/>
                    </a:lnTo>
                    <a:lnTo>
                      <a:pt x="0" y="98"/>
                    </a:lnTo>
                    <a:lnTo>
                      <a:pt x="0" y="106"/>
                    </a:lnTo>
                  </a:path>
                </a:pathLst>
              </a:custGeom>
              <a:solidFill>
                <a:sysClr val="window" lastClr="FFFFFF"/>
              </a:solidFill>
              <a:ln w="19050">
                <a:solidFill>
                  <a:srgbClr val="0098C7"/>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grpSp>
        <p:sp>
          <p:nvSpPr>
            <p:cNvPr id="25" name="Freeform 147">
              <a:extLst>
                <a:ext uri="{FF2B5EF4-FFF2-40B4-BE49-F238E27FC236}">
                  <a16:creationId xmlns:a16="http://schemas.microsoft.com/office/drawing/2014/main" id="{14336CC9-5AB7-BD70-5134-7D21FBF0CC22}"/>
                </a:ext>
              </a:extLst>
            </p:cNvPr>
            <p:cNvSpPr/>
            <p:nvPr/>
          </p:nvSpPr>
          <p:spPr>
            <a:xfrm>
              <a:off x="1237005" y="1774940"/>
              <a:ext cx="456806" cy="325209"/>
            </a:xfrm>
            <a:custGeom>
              <a:avLst/>
              <a:gdLst>
                <a:gd name="connsiteX0" fmla="*/ 1181100 w 1319213"/>
                <a:gd name="connsiteY0" fmla="*/ 542925 h 942975"/>
                <a:gd name="connsiteX1" fmla="*/ 1238250 w 1319213"/>
                <a:gd name="connsiteY1" fmla="*/ 862012 h 942975"/>
                <a:gd name="connsiteX2" fmla="*/ 1028700 w 1319213"/>
                <a:gd name="connsiteY2" fmla="*/ 590550 h 942975"/>
                <a:gd name="connsiteX3" fmla="*/ 966788 w 1319213"/>
                <a:gd name="connsiteY3" fmla="*/ 600075 h 942975"/>
                <a:gd name="connsiteX4" fmla="*/ 885825 w 1319213"/>
                <a:gd name="connsiteY4" fmla="*/ 838200 h 942975"/>
                <a:gd name="connsiteX5" fmla="*/ 904875 w 1319213"/>
                <a:gd name="connsiteY5" fmla="*/ 942975 h 942975"/>
                <a:gd name="connsiteX6" fmla="*/ 819150 w 1319213"/>
                <a:gd name="connsiteY6" fmla="*/ 857250 h 942975"/>
                <a:gd name="connsiteX7" fmla="*/ 495300 w 1319213"/>
                <a:gd name="connsiteY7" fmla="*/ 747712 h 942975"/>
                <a:gd name="connsiteX8" fmla="*/ 247650 w 1319213"/>
                <a:gd name="connsiteY8" fmla="*/ 800100 h 942975"/>
                <a:gd name="connsiteX9" fmla="*/ 114300 w 1319213"/>
                <a:gd name="connsiteY9" fmla="*/ 914400 h 942975"/>
                <a:gd name="connsiteX10" fmla="*/ 123825 w 1319213"/>
                <a:gd name="connsiteY10" fmla="*/ 752475 h 942975"/>
                <a:gd name="connsiteX11" fmla="*/ 0 w 1319213"/>
                <a:gd name="connsiteY11" fmla="*/ 504825 h 942975"/>
                <a:gd name="connsiteX12" fmla="*/ 519113 w 1319213"/>
                <a:gd name="connsiteY12" fmla="*/ 347662 h 942975"/>
                <a:gd name="connsiteX13" fmla="*/ 804863 w 1319213"/>
                <a:gd name="connsiteY13" fmla="*/ 0 h 942975"/>
                <a:gd name="connsiteX14" fmla="*/ 1319213 w 1319213"/>
                <a:gd name="connsiteY14" fmla="*/ 133350 h 942975"/>
                <a:gd name="connsiteX15" fmla="*/ 1181100 w 1319213"/>
                <a:gd name="connsiteY15" fmla="*/ 542925 h 942975"/>
                <a:gd name="connsiteX0" fmla="*/ 1181100 w 1319213"/>
                <a:gd name="connsiteY0" fmla="*/ 550900 h 950950"/>
                <a:gd name="connsiteX1" fmla="*/ 1238250 w 1319213"/>
                <a:gd name="connsiteY1" fmla="*/ 869987 h 950950"/>
                <a:gd name="connsiteX2" fmla="*/ 1028700 w 1319213"/>
                <a:gd name="connsiteY2" fmla="*/ 598525 h 950950"/>
                <a:gd name="connsiteX3" fmla="*/ 966788 w 1319213"/>
                <a:gd name="connsiteY3" fmla="*/ 608050 h 950950"/>
                <a:gd name="connsiteX4" fmla="*/ 885825 w 1319213"/>
                <a:gd name="connsiteY4" fmla="*/ 846175 h 950950"/>
                <a:gd name="connsiteX5" fmla="*/ 904875 w 1319213"/>
                <a:gd name="connsiteY5" fmla="*/ 950950 h 950950"/>
                <a:gd name="connsiteX6" fmla="*/ 819150 w 1319213"/>
                <a:gd name="connsiteY6" fmla="*/ 865225 h 950950"/>
                <a:gd name="connsiteX7" fmla="*/ 495300 w 1319213"/>
                <a:gd name="connsiteY7" fmla="*/ 755687 h 950950"/>
                <a:gd name="connsiteX8" fmla="*/ 247650 w 1319213"/>
                <a:gd name="connsiteY8" fmla="*/ 808075 h 950950"/>
                <a:gd name="connsiteX9" fmla="*/ 114300 w 1319213"/>
                <a:gd name="connsiteY9" fmla="*/ 922375 h 950950"/>
                <a:gd name="connsiteX10" fmla="*/ 123825 w 1319213"/>
                <a:gd name="connsiteY10" fmla="*/ 760450 h 950950"/>
                <a:gd name="connsiteX11" fmla="*/ 0 w 1319213"/>
                <a:gd name="connsiteY11" fmla="*/ 512800 h 950950"/>
                <a:gd name="connsiteX12" fmla="*/ 519113 w 1319213"/>
                <a:gd name="connsiteY12" fmla="*/ 355637 h 950950"/>
                <a:gd name="connsiteX13" fmla="*/ 804863 w 1319213"/>
                <a:gd name="connsiteY13" fmla="*/ 7975 h 950950"/>
                <a:gd name="connsiteX14" fmla="*/ 1319213 w 1319213"/>
                <a:gd name="connsiteY14" fmla="*/ 141325 h 950950"/>
                <a:gd name="connsiteX15" fmla="*/ 1181100 w 1319213"/>
                <a:gd name="connsiteY15" fmla="*/ 550900 h 950950"/>
                <a:gd name="connsiteX0" fmla="*/ 1181100 w 1319213"/>
                <a:gd name="connsiteY0" fmla="*/ 550900 h 950950"/>
                <a:gd name="connsiteX1" fmla="*/ 1238250 w 1319213"/>
                <a:gd name="connsiteY1" fmla="*/ 869987 h 950950"/>
                <a:gd name="connsiteX2" fmla="*/ 1028700 w 1319213"/>
                <a:gd name="connsiteY2" fmla="*/ 598525 h 950950"/>
                <a:gd name="connsiteX3" fmla="*/ 966788 w 1319213"/>
                <a:gd name="connsiteY3" fmla="*/ 608050 h 950950"/>
                <a:gd name="connsiteX4" fmla="*/ 885825 w 1319213"/>
                <a:gd name="connsiteY4" fmla="*/ 846175 h 950950"/>
                <a:gd name="connsiteX5" fmla="*/ 904875 w 1319213"/>
                <a:gd name="connsiteY5" fmla="*/ 950950 h 950950"/>
                <a:gd name="connsiteX6" fmla="*/ 819150 w 1319213"/>
                <a:gd name="connsiteY6" fmla="*/ 865225 h 950950"/>
                <a:gd name="connsiteX7" fmla="*/ 495300 w 1319213"/>
                <a:gd name="connsiteY7" fmla="*/ 755687 h 950950"/>
                <a:gd name="connsiteX8" fmla="*/ 247650 w 1319213"/>
                <a:gd name="connsiteY8" fmla="*/ 808075 h 950950"/>
                <a:gd name="connsiteX9" fmla="*/ 114300 w 1319213"/>
                <a:gd name="connsiteY9" fmla="*/ 922375 h 950950"/>
                <a:gd name="connsiteX10" fmla="*/ 123825 w 1319213"/>
                <a:gd name="connsiteY10" fmla="*/ 760450 h 950950"/>
                <a:gd name="connsiteX11" fmla="*/ 0 w 1319213"/>
                <a:gd name="connsiteY11" fmla="*/ 512800 h 950950"/>
                <a:gd name="connsiteX12" fmla="*/ 519113 w 1319213"/>
                <a:gd name="connsiteY12" fmla="*/ 355637 h 950950"/>
                <a:gd name="connsiteX13" fmla="*/ 804863 w 1319213"/>
                <a:gd name="connsiteY13" fmla="*/ 7975 h 950950"/>
                <a:gd name="connsiteX14" fmla="*/ 1319213 w 1319213"/>
                <a:gd name="connsiteY14" fmla="*/ 141325 h 950950"/>
                <a:gd name="connsiteX15" fmla="*/ 1181100 w 1319213"/>
                <a:gd name="connsiteY15" fmla="*/ 550900 h 950950"/>
                <a:gd name="connsiteX0" fmla="*/ 1181100 w 1319213"/>
                <a:gd name="connsiteY0" fmla="*/ 558477 h 958527"/>
                <a:gd name="connsiteX1" fmla="*/ 1238250 w 1319213"/>
                <a:gd name="connsiteY1" fmla="*/ 877564 h 958527"/>
                <a:gd name="connsiteX2" fmla="*/ 1028700 w 1319213"/>
                <a:gd name="connsiteY2" fmla="*/ 606102 h 958527"/>
                <a:gd name="connsiteX3" fmla="*/ 966788 w 1319213"/>
                <a:gd name="connsiteY3" fmla="*/ 615627 h 958527"/>
                <a:gd name="connsiteX4" fmla="*/ 885825 w 1319213"/>
                <a:gd name="connsiteY4" fmla="*/ 853752 h 958527"/>
                <a:gd name="connsiteX5" fmla="*/ 904875 w 1319213"/>
                <a:gd name="connsiteY5" fmla="*/ 958527 h 958527"/>
                <a:gd name="connsiteX6" fmla="*/ 819150 w 1319213"/>
                <a:gd name="connsiteY6" fmla="*/ 872802 h 958527"/>
                <a:gd name="connsiteX7" fmla="*/ 495300 w 1319213"/>
                <a:gd name="connsiteY7" fmla="*/ 763264 h 958527"/>
                <a:gd name="connsiteX8" fmla="*/ 247650 w 1319213"/>
                <a:gd name="connsiteY8" fmla="*/ 815652 h 958527"/>
                <a:gd name="connsiteX9" fmla="*/ 114300 w 1319213"/>
                <a:gd name="connsiteY9" fmla="*/ 929952 h 958527"/>
                <a:gd name="connsiteX10" fmla="*/ 123825 w 1319213"/>
                <a:gd name="connsiteY10" fmla="*/ 768027 h 958527"/>
                <a:gd name="connsiteX11" fmla="*/ 0 w 1319213"/>
                <a:gd name="connsiteY11" fmla="*/ 520377 h 958527"/>
                <a:gd name="connsiteX12" fmla="*/ 519113 w 1319213"/>
                <a:gd name="connsiteY12" fmla="*/ 363214 h 958527"/>
                <a:gd name="connsiteX13" fmla="*/ 804863 w 1319213"/>
                <a:gd name="connsiteY13" fmla="*/ 15552 h 958527"/>
                <a:gd name="connsiteX14" fmla="*/ 1319213 w 1319213"/>
                <a:gd name="connsiteY14" fmla="*/ 148902 h 958527"/>
                <a:gd name="connsiteX15" fmla="*/ 1181100 w 1319213"/>
                <a:gd name="connsiteY15" fmla="*/ 558477 h 958527"/>
                <a:gd name="connsiteX0" fmla="*/ 1181100 w 1341066"/>
                <a:gd name="connsiteY0" fmla="*/ 558477 h 958527"/>
                <a:gd name="connsiteX1" fmla="*/ 1238250 w 1341066"/>
                <a:gd name="connsiteY1" fmla="*/ 877564 h 958527"/>
                <a:gd name="connsiteX2" fmla="*/ 1028700 w 1341066"/>
                <a:gd name="connsiteY2" fmla="*/ 606102 h 958527"/>
                <a:gd name="connsiteX3" fmla="*/ 966788 w 1341066"/>
                <a:gd name="connsiteY3" fmla="*/ 615627 h 958527"/>
                <a:gd name="connsiteX4" fmla="*/ 885825 w 1341066"/>
                <a:gd name="connsiteY4" fmla="*/ 853752 h 958527"/>
                <a:gd name="connsiteX5" fmla="*/ 904875 w 1341066"/>
                <a:gd name="connsiteY5" fmla="*/ 958527 h 958527"/>
                <a:gd name="connsiteX6" fmla="*/ 819150 w 1341066"/>
                <a:gd name="connsiteY6" fmla="*/ 872802 h 958527"/>
                <a:gd name="connsiteX7" fmla="*/ 495300 w 1341066"/>
                <a:gd name="connsiteY7" fmla="*/ 763264 h 958527"/>
                <a:gd name="connsiteX8" fmla="*/ 247650 w 1341066"/>
                <a:gd name="connsiteY8" fmla="*/ 815652 h 958527"/>
                <a:gd name="connsiteX9" fmla="*/ 114300 w 1341066"/>
                <a:gd name="connsiteY9" fmla="*/ 929952 h 958527"/>
                <a:gd name="connsiteX10" fmla="*/ 123825 w 1341066"/>
                <a:gd name="connsiteY10" fmla="*/ 768027 h 958527"/>
                <a:gd name="connsiteX11" fmla="*/ 0 w 1341066"/>
                <a:gd name="connsiteY11" fmla="*/ 520377 h 958527"/>
                <a:gd name="connsiteX12" fmla="*/ 519113 w 1341066"/>
                <a:gd name="connsiteY12" fmla="*/ 363214 h 958527"/>
                <a:gd name="connsiteX13" fmla="*/ 804863 w 1341066"/>
                <a:gd name="connsiteY13" fmla="*/ 15552 h 958527"/>
                <a:gd name="connsiteX14" fmla="*/ 1319213 w 1341066"/>
                <a:gd name="connsiteY14" fmla="*/ 148902 h 958527"/>
                <a:gd name="connsiteX15" fmla="*/ 1181100 w 1341066"/>
                <a:gd name="connsiteY15" fmla="*/ 558477 h 958527"/>
                <a:gd name="connsiteX0" fmla="*/ 1181100 w 1348978"/>
                <a:gd name="connsiteY0" fmla="*/ 558477 h 958527"/>
                <a:gd name="connsiteX1" fmla="*/ 1238250 w 1348978"/>
                <a:gd name="connsiteY1" fmla="*/ 877564 h 958527"/>
                <a:gd name="connsiteX2" fmla="*/ 1028700 w 1348978"/>
                <a:gd name="connsiteY2" fmla="*/ 606102 h 958527"/>
                <a:gd name="connsiteX3" fmla="*/ 966788 w 1348978"/>
                <a:gd name="connsiteY3" fmla="*/ 615627 h 958527"/>
                <a:gd name="connsiteX4" fmla="*/ 885825 w 1348978"/>
                <a:gd name="connsiteY4" fmla="*/ 853752 h 958527"/>
                <a:gd name="connsiteX5" fmla="*/ 904875 w 1348978"/>
                <a:gd name="connsiteY5" fmla="*/ 958527 h 958527"/>
                <a:gd name="connsiteX6" fmla="*/ 819150 w 1348978"/>
                <a:gd name="connsiteY6" fmla="*/ 872802 h 958527"/>
                <a:gd name="connsiteX7" fmla="*/ 495300 w 1348978"/>
                <a:gd name="connsiteY7" fmla="*/ 763264 h 958527"/>
                <a:gd name="connsiteX8" fmla="*/ 247650 w 1348978"/>
                <a:gd name="connsiteY8" fmla="*/ 815652 h 958527"/>
                <a:gd name="connsiteX9" fmla="*/ 114300 w 1348978"/>
                <a:gd name="connsiteY9" fmla="*/ 929952 h 958527"/>
                <a:gd name="connsiteX10" fmla="*/ 123825 w 1348978"/>
                <a:gd name="connsiteY10" fmla="*/ 768027 h 958527"/>
                <a:gd name="connsiteX11" fmla="*/ 0 w 1348978"/>
                <a:gd name="connsiteY11" fmla="*/ 520377 h 958527"/>
                <a:gd name="connsiteX12" fmla="*/ 519113 w 1348978"/>
                <a:gd name="connsiteY12" fmla="*/ 363214 h 958527"/>
                <a:gd name="connsiteX13" fmla="*/ 804863 w 1348978"/>
                <a:gd name="connsiteY13" fmla="*/ 15552 h 958527"/>
                <a:gd name="connsiteX14" fmla="*/ 1319213 w 1348978"/>
                <a:gd name="connsiteY14" fmla="*/ 148902 h 958527"/>
                <a:gd name="connsiteX15" fmla="*/ 1181100 w 1348978"/>
                <a:gd name="connsiteY15" fmla="*/ 558477 h 958527"/>
                <a:gd name="connsiteX0" fmla="*/ 1181100 w 1348978"/>
                <a:gd name="connsiteY0" fmla="*/ 567288 h 967338"/>
                <a:gd name="connsiteX1" fmla="*/ 1238250 w 1348978"/>
                <a:gd name="connsiteY1" fmla="*/ 886375 h 967338"/>
                <a:gd name="connsiteX2" fmla="*/ 1028700 w 1348978"/>
                <a:gd name="connsiteY2" fmla="*/ 614913 h 967338"/>
                <a:gd name="connsiteX3" fmla="*/ 966788 w 1348978"/>
                <a:gd name="connsiteY3" fmla="*/ 624438 h 967338"/>
                <a:gd name="connsiteX4" fmla="*/ 885825 w 1348978"/>
                <a:gd name="connsiteY4" fmla="*/ 862563 h 967338"/>
                <a:gd name="connsiteX5" fmla="*/ 904875 w 1348978"/>
                <a:gd name="connsiteY5" fmla="*/ 967338 h 967338"/>
                <a:gd name="connsiteX6" fmla="*/ 819150 w 1348978"/>
                <a:gd name="connsiteY6" fmla="*/ 881613 h 967338"/>
                <a:gd name="connsiteX7" fmla="*/ 495300 w 1348978"/>
                <a:gd name="connsiteY7" fmla="*/ 772075 h 967338"/>
                <a:gd name="connsiteX8" fmla="*/ 247650 w 1348978"/>
                <a:gd name="connsiteY8" fmla="*/ 824463 h 967338"/>
                <a:gd name="connsiteX9" fmla="*/ 114300 w 1348978"/>
                <a:gd name="connsiteY9" fmla="*/ 938763 h 967338"/>
                <a:gd name="connsiteX10" fmla="*/ 123825 w 1348978"/>
                <a:gd name="connsiteY10" fmla="*/ 776838 h 967338"/>
                <a:gd name="connsiteX11" fmla="*/ 0 w 1348978"/>
                <a:gd name="connsiteY11" fmla="*/ 529188 h 967338"/>
                <a:gd name="connsiteX12" fmla="*/ 519113 w 1348978"/>
                <a:gd name="connsiteY12" fmla="*/ 372025 h 967338"/>
                <a:gd name="connsiteX13" fmla="*/ 804863 w 1348978"/>
                <a:gd name="connsiteY13" fmla="*/ 24363 h 967338"/>
                <a:gd name="connsiteX14" fmla="*/ 1319213 w 1348978"/>
                <a:gd name="connsiteY14" fmla="*/ 157713 h 967338"/>
                <a:gd name="connsiteX15" fmla="*/ 1181100 w 1348978"/>
                <a:gd name="connsiteY15" fmla="*/ 567288 h 967338"/>
                <a:gd name="connsiteX0" fmla="*/ 1181100 w 1348978"/>
                <a:gd name="connsiteY0" fmla="*/ 567288 h 967338"/>
                <a:gd name="connsiteX1" fmla="*/ 1238250 w 1348978"/>
                <a:gd name="connsiteY1" fmla="*/ 886375 h 967338"/>
                <a:gd name="connsiteX2" fmla="*/ 1028700 w 1348978"/>
                <a:gd name="connsiteY2" fmla="*/ 614913 h 967338"/>
                <a:gd name="connsiteX3" fmla="*/ 966788 w 1348978"/>
                <a:gd name="connsiteY3" fmla="*/ 624438 h 967338"/>
                <a:gd name="connsiteX4" fmla="*/ 885825 w 1348978"/>
                <a:gd name="connsiteY4" fmla="*/ 862563 h 967338"/>
                <a:gd name="connsiteX5" fmla="*/ 904875 w 1348978"/>
                <a:gd name="connsiteY5" fmla="*/ 967338 h 967338"/>
                <a:gd name="connsiteX6" fmla="*/ 819150 w 1348978"/>
                <a:gd name="connsiteY6" fmla="*/ 881613 h 967338"/>
                <a:gd name="connsiteX7" fmla="*/ 495300 w 1348978"/>
                <a:gd name="connsiteY7" fmla="*/ 772075 h 967338"/>
                <a:gd name="connsiteX8" fmla="*/ 247650 w 1348978"/>
                <a:gd name="connsiteY8" fmla="*/ 824463 h 967338"/>
                <a:gd name="connsiteX9" fmla="*/ 114300 w 1348978"/>
                <a:gd name="connsiteY9" fmla="*/ 938763 h 967338"/>
                <a:gd name="connsiteX10" fmla="*/ 123825 w 1348978"/>
                <a:gd name="connsiteY10" fmla="*/ 776838 h 967338"/>
                <a:gd name="connsiteX11" fmla="*/ 0 w 1348978"/>
                <a:gd name="connsiteY11" fmla="*/ 529188 h 967338"/>
                <a:gd name="connsiteX12" fmla="*/ 519113 w 1348978"/>
                <a:gd name="connsiteY12" fmla="*/ 372025 h 967338"/>
                <a:gd name="connsiteX13" fmla="*/ 804863 w 1348978"/>
                <a:gd name="connsiteY13" fmla="*/ 24363 h 967338"/>
                <a:gd name="connsiteX14" fmla="*/ 1319213 w 1348978"/>
                <a:gd name="connsiteY14" fmla="*/ 157713 h 967338"/>
                <a:gd name="connsiteX15" fmla="*/ 1181100 w 1348978"/>
                <a:gd name="connsiteY15" fmla="*/ 567288 h 967338"/>
                <a:gd name="connsiteX0" fmla="*/ 1181100 w 1348978"/>
                <a:gd name="connsiteY0" fmla="*/ 567288 h 967338"/>
                <a:gd name="connsiteX1" fmla="*/ 1238250 w 1348978"/>
                <a:gd name="connsiteY1" fmla="*/ 886375 h 967338"/>
                <a:gd name="connsiteX2" fmla="*/ 1028700 w 1348978"/>
                <a:gd name="connsiteY2" fmla="*/ 614913 h 967338"/>
                <a:gd name="connsiteX3" fmla="*/ 966788 w 1348978"/>
                <a:gd name="connsiteY3" fmla="*/ 624438 h 967338"/>
                <a:gd name="connsiteX4" fmla="*/ 885825 w 1348978"/>
                <a:gd name="connsiteY4" fmla="*/ 862563 h 967338"/>
                <a:gd name="connsiteX5" fmla="*/ 904875 w 1348978"/>
                <a:gd name="connsiteY5" fmla="*/ 967338 h 967338"/>
                <a:gd name="connsiteX6" fmla="*/ 819150 w 1348978"/>
                <a:gd name="connsiteY6" fmla="*/ 881613 h 967338"/>
                <a:gd name="connsiteX7" fmla="*/ 495300 w 1348978"/>
                <a:gd name="connsiteY7" fmla="*/ 772075 h 967338"/>
                <a:gd name="connsiteX8" fmla="*/ 247650 w 1348978"/>
                <a:gd name="connsiteY8" fmla="*/ 824463 h 967338"/>
                <a:gd name="connsiteX9" fmla="*/ 114300 w 1348978"/>
                <a:gd name="connsiteY9" fmla="*/ 938763 h 967338"/>
                <a:gd name="connsiteX10" fmla="*/ 123825 w 1348978"/>
                <a:gd name="connsiteY10" fmla="*/ 776838 h 967338"/>
                <a:gd name="connsiteX11" fmla="*/ 0 w 1348978"/>
                <a:gd name="connsiteY11" fmla="*/ 529188 h 967338"/>
                <a:gd name="connsiteX12" fmla="*/ 519113 w 1348978"/>
                <a:gd name="connsiteY12" fmla="*/ 372025 h 967338"/>
                <a:gd name="connsiteX13" fmla="*/ 804863 w 1348978"/>
                <a:gd name="connsiteY13" fmla="*/ 24363 h 967338"/>
                <a:gd name="connsiteX14" fmla="*/ 1319213 w 1348978"/>
                <a:gd name="connsiteY14" fmla="*/ 157713 h 967338"/>
                <a:gd name="connsiteX15" fmla="*/ 1181100 w 1348978"/>
                <a:gd name="connsiteY15" fmla="*/ 567288 h 967338"/>
                <a:gd name="connsiteX0" fmla="*/ 1181100 w 1348978"/>
                <a:gd name="connsiteY0" fmla="*/ 567288 h 967338"/>
                <a:gd name="connsiteX1" fmla="*/ 1238250 w 1348978"/>
                <a:gd name="connsiteY1" fmla="*/ 886375 h 967338"/>
                <a:gd name="connsiteX2" fmla="*/ 1028700 w 1348978"/>
                <a:gd name="connsiteY2" fmla="*/ 614913 h 967338"/>
                <a:gd name="connsiteX3" fmla="*/ 966788 w 1348978"/>
                <a:gd name="connsiteY3" fmla="*/ 624438 h 967338"/>
                <a:gd name="connsiteX4" fmla="*/ 885825 w 1348978"/>
                <a:gd name="connsiteY4" fmla="*/ 862563 h 967338"/>
                <a:gd name="connsiteX5" fmla="*/ 904875 w 1348978"/>
                <a:gd name="connsiteY5" fmla="*/ 967338 h 967338"/>
                <a:gd name="connsiteX6" fmla="*/ 819150 w 1348978"/>
                <a:gd name="connsiteY6" fmla="*/ 881613 h 967338"/>
                <a:gd name="connsiteX7" fmla="*/ 495300 w 1348978"/>
                <a:gd name="connsiteY7" fmla="*/ 772075 h 967338"/>
                <a:gd name="connsiteX8" fmla="*/ 247650 w 1348978"/>
                <a:gd name="connsiteY8" fmla="*/ 824463 h 967338"/>
                <a:gd name="connsiteX9" fmla="*/ 114300 w 1348978"/>
                <a:gd name="connsiteY9" fmla="*/ 938763 h 967338"/>
                <a:gd name="connsiteX10" fmla="*/ 123825 w 1348978"/>
                <a:gd name="connsiteY10" fmla="*/ 776838 h 967338"/>
                <a:gd name="connsiteX11" fmla="*/ 0 w 1348978"/>
                <a:gd name="connsiteY11" fmla="*/ 529188 h 967338"/>
                <a:gd name="connsiteX12" fmla="*/ 519113 w 1348978"/>
                <a:gd name="connsiteY12" fmla="*/ 372025 h 967338"/>
                <a:gd name="connsiteX13" fmla="*/ 804863 w 1348978"/>
                <a:gd name="connsiteY13" fmla="*/ 24363 h 967338"/>
                <a:gd name="connsiteX14" fmla="*/ 1319213 w 1348978"/>
                <a:gd name="connsiteY14" fmla="*/ 157713 h 967338"/>
                <a:gd name="connsiteX15" fmla="*/ 1181100 w 1348978"/>
                <a:gd name="connsiteY15" fmla="*/ 567288 h 967338"/>
                <a:gd name="connsiteX0" fmla="*/ 1188918 w 1356796"/>
                <a:gd name="connsiteY0" fmla="*/ 567288 h 967338"/>
                <a:gd name="connsiteX1" fmla="*/ 1246068 w 1356796"/>
                <a:gd name="connsiteY1" fmla="*/ 886375 h 967338"/>
                <a:gd name="connsiteX2" fmla="*/ 1036518 w 1356796"/>
                <a:gd name="connsiteY2" fmla="*/ 614913 h 967338"/>
                <a:gd name="connsiteX3" fmla="*/ 974606 w 1356796"/>
                <a:gd name="connsiteY3" fmla="*/ 624438 h 967338"/>
                <a:gd name="connsiteX4" fmla="*/ 893643 w 1356796"/>
                <a:gd name="connsiteY4" fmla="*/ 862563 h 967338"/>
                <a:gd name="connsiteX5" fmla="*/ 912693 w 1356796"/>
                <a:gd name="connsiteY5" fmla="*/ 967338 h 967338"/>
                <a:gd name="connsiteX6" fmla="*/ 826968 w 1356796"/>
                <a:gd name="connsiteY6" fmla="*/ 881613 h 967338"/>
                <a:gd name="connsiteX7" fmla="*/ 503118 w 1356796"/>
                <a:gd name="connsiteY7" fmla="*/ 772075 h 967338"/>
                <a:gd name="connsiteX8" fmla="*/ 255468 w 1356796"/>
                <a:gd name="connsiteY8" fmla="*/ 824463 h 967338"/>
                <a:gd name="connsiteX9" fmla="*/ 122118 w 1356796"/>
                <a:gd name="connsiteY9" fmla="*/ 938763 h 967338"/>
                <a:gd name="connsiteX10" fmla="*/ 131643 w 1356796"/>
                <a:gd name="connsiteY10" fmla="*/ 776838 h 967338"/>
                <a:gd name="connsiteX11" fmla="*/ 7818 w 1356796"/>
                <a:gd name="connsiteY11" fmla="*/ 529188 h 967338"/>
                <a:gd name="connsiteX12" fmla="*/ 526931 w 1356796"/>
                <a:gd name="connsiteY12" fmla="*/ 372025 h 967338"/>
                <a:gd name="connsiteX13" fmla="*/ 812681 w 1356796"/>
                <a:gd name="connsiteY13" fmla="*/ 24363 h 967338"/>
                <a:gd name="connsiteX14" fmla="*/ 1327031 w 1356796"/>
                <a:gd name="connsiteY14" fmla="*/ 157713 h 967338"/>
                <a:gd name="connsiteX15" fmla="*/ 1188918 w 1356796"/>
                <a:gd name="connsiteY15" fmla="*/ 567288 h 967338"/>
                <a:gd name="connsiteX0" fmla="*/ 1190894 w 1358772"/>
                <a:gd name="connsiteY0" fmla="*/ 567288 h 967338"/>
                <a:gd name="connsiteX1" fmla="*/ 1248044 w 1358772"/>
                <a:gd name="connsiteY1" fmla="*/ 886375 h 967338"/>
                <a:gd name="connsiteX2" fmla="*/ 1038494 w 1358772"/>
                <a:gd name="connsiteY2" fmla="*/ 614913 h 967338"/>
                <a:gd name="connsiteX3" fmla="*/ 976582 w 1358772"/>
                <a:gd name="connsiteY3" fmla="*/ 624438 h 967338"/>
                <a:gd name="connsiteX4" fmla="*/ 895619 w 1358772"/>
                <a:gd name="connsiteY4" fmla="*/ 862563 h 967338"/>
                <a:gd name="connsiteX5" fmla="*/ 914669 w 1358772"/>
                <a:gd name="connsiteY5" fmla="*/ 967338 h 967338"/>
                <a:gd name="connsiteX6" fmla="*/ 828944 w 1358772"/>
                <a:gd name="connsiteY6" fmla="*/ 881613 h 967338"/>
                <a:gd name="connsiteX7" fmla="*/ 505094 w 1358772"/>
                <a:gd name="connsiteY7" fmla="*/ 772075 h 967338"/>
                <a:gd name="connsiteX8" fmla="*/ 257444 w 1358772"/>
                <a:gd name="connsiteY8" fmla="*/ 824463 h 967338"/>
                <a:gd name="connsiteX9" fmla="*/ 124094 w 1358772"/>
                <a:gd name="connsiteY9" fmla="*/ 938763 h 967338"/>
                <a:gd name="connsiteX10" fmla="*/ 133619 w 1358772"/>
                <a:gd name="connsiteY10" fmla="*/ 776838 h 967338"/>
                <a:gd name="connsiteX11" fmla="*/ 9794 w 1358772"/>
                <a:gd name="connsiteY11" fmla="*/ 529188 h 967338"/>
                <a:gd name="connsiteX12" fmla="*/ 528907 w 1358772"/>
                <a:gd name="connsiteY12" fmla="*/ 372025 h 967338"/>
                <a:gd name="connsiteX13" fmla="*/ 814657 w 1358772"/>
                <a:gd name="connsiteY13" fmla="*/ 24363 h 967338"/>
                <a:gd name="connsiteX14" fmla="*/ 1329007 w 1358772"/>
                <a:gd name="connsiteY14" fmla="*/ 157713 h 967338"/>
                <a:gd name="connsiteX15" fmla="*/ 1190894 w 1358772"/>
                <a:gd name="connsiteY15" fmla="*/ 567288 h 967338"/>
                <a:gd name="connsiteX0" fmla="*/ 1190894 w 1358772"/>
                <a:gd name="connsiteY0" fmla="*/ 567288 h 967338"/>
                <a:gd name="connsiteX1" fmla="*/ 1248044 w 1358772"/>
                <a:gd name="connsiteY1" fmla="*/ 886375 h 967338"/>
                <a:gd name="connsiteX2" fmla="*/ 1038494 w 1358772"/>
                <a:gd name="connsiteY2" fmla="*/ 614913 h 967338"/>
                <a:gd name="connsiteX3" fmla="*/ 976582 w 1358772"/>
                <a:gd name="connsiteY3" fmla="*/ 624438 h 967338"/>
                <a:gd name="connsiteX4" fmla="*/ 895619 w 1358772"/>
                <a:gd name="connsiteY4" fmla="*/ 862563 h 967338"/>
                <a:gd name="connsiteX5" fmla="*/ 914669 w 1358772"/>
                <a:gd name="connsiteY5" fmla="*/ 967338 h 967338"/>
                <a:gd name="connsiteX6" fmla="*/ 828944 w 1358772"/>
                <a:gd name="connsiteY6" fmla="*/ 881613 h 967338"/>
                <a:gd name="connsiteX7" fmla="*/ 505094 w 1358772"/>
                <a:gd name="connsiteY7" fmla="*/ 772075 h 967338"/>
                <a:gd name="connsiteX8" fmla="*/ 257444 w 1358772"/>
                <a:gd name="connsiteY8" fmla="*/ 824463 h 967338"/>
                <a:gd name="connsiteX9" fmla="*/ 124094 w 1358772"/>
                <a:gd name="connsiteY9" fmla="*/ 938763 h 967338"/>
                <a:gd name="connsiteX10" fmla="*/ 133619 w 1358772"/>
                <a:gd name="connsiteY10" fmla="*/ 776838 h 967338"/>
                <a:gd name="connsiteX11" fmla="*/ 9794 w 1358772"/>
                <a:gd name="connsiteY11" fmla="*/ 529188 h 967338"/>
                <a:gd name="connsiteX12" fmla="*/ 528907 w 1358772"/>
                <a:gd name="connsiteY12" fmla="*/ 372025 h 967338"/>
                <a:gd name="connsiteX13" fmla="*/ 814657 w 1358772"/>
                <a:gd name="connsiteY13" fmla="*/ 24363 h 967338"/>
                <a:gd name="connsiteX14" fmla="*/ 1329007 w 1358772"/>
                <a:gd name="connsiteY14" fmla="*/ 157713 h 967338"/>
                <a:gd name="connsiteX15" fmla="*/ 1190894 w 1358772"/>
                <a:gd name="connsiteY15" fmla="*/ 567288 h 967338"/>
                <a:gd name="connsiteX0" fmla="*/ 1190894 w 1358772"/>
                <a:gd name="connsiteY0" fmla="*/ 567288 h 967338"/>
                <a:gd name="connsiteX1" fmla="*/ 1248044 w 1358772"/>
                <a:gd name="connsiteY1" fmla="*/ 886375 h 967338"/>
                <a:gd name="connsiteX2" fmla="*/ 1038494 w 1358772"/>
                <a:gd name="connsiteY2" fmla="*/ 614913 h 967338"/>
                <a:gd name="connsiteX3" fmla="*/ 976582 w 1358772"/>
                <a:gd name="connsiteY3" fmla="*/ 624438 h 967338"/>
                <a:gd name="connsiteX4" fmla="*/ 895619 w 1358772"/>
                <a:gd name="connsiteY4" fmla="*/ 862563 h 967338"/>
                <a:gd name="connsiteX5" fmla="*/ 914669 w 1358772"/>
                <a:gd name="connsiteY5" fmla="*/ 967338 h 967338"/>
                <a:gd name="connsiteX6" fmla="*/ 828944 w 1358772"/>
                <a:gd name="connsiteY6" fmla="*/ 881613 h 967338"/>
                <a:gd name="connsiteX7" fmla="*/ 505094 w 1358772"/>
                <a:gd name="connsiteY7" fmla="*/ 772075 h 967338"/>
                <a:gd name="connsiteX8" fmla="*/ 257444 w 1358772"/>
                <a:gd name="connsiteY8" fmla="*/ 824463 h 967338"/>
                <a:gd name="connsiteX9" fmla="*/ 124094 w 1358772"/>
                <a:gd name="connsiteY9" fmla="*/ 938763 h 967338"/>
                <a:gd name="connsiteX10" fmla="*/ 133619 w 1358772"/>
                <a:gd name="connsiteY10" fmla="*/ 776838 h 967338"/>
                <a:gd name="connsiteX11" fmla="*/ 9794 w 1358772"/>
                <a:gd name="connsiteY11" fmla="*/ 529188 h 967338"/>
                <a:gd name="connsiteX12" fmla="*/ 528907 w 1358772"/>
                <a:gd name="connsiteY12" fmla="*/ 372025 h 967338"/>
                <a:gd name="connsiteX13" fmla="*/ 814657 w 1358772"/>
                <a:gd name="connsiteY13" fmla="*/ 24363 h 967338"/>
                <a:gd name="connsiteX14" fmla="*/ 1329007 w 1358772"/>
                <a:gd name="connsiteY14" fmla="*/ 157713 h 967338"/>
                <a:gd name="connsiteX15" fmla="*/ 1190894 w 1358772"/>
                <a:gd name="connsiteY15" fmla="*/ 567288 h 967338"/>
                <a:gd name="connsiteX0" fmla="*/ 1190894 w 1358772"/>
                <a:gd name="connsiteY0" fmla="*/ 567288 h 967338"/>
                <a:gd name="connsiteX1" fmla="*/ 1248044 w 1358772"/>
                <a:gd name="connsiteY1" fmla="*/ 886375 h 967338"/>
                <a:gd name="connsiteX2" fmla="*/ 1038494 w 1358772"/>
                <a:gd name="connsiteY2" fmla="*/ 614913 h 967338"/>
                <a:gd name="connsiteX3" fmla="*/ 976582 w 1358772"/>
                <a:gd name="connsiteY3" fmla="*/ 624438 h 967338"/>
                <a:gd name="connsiteX4" fmla="*/ 895619 w 1358772"/>
                <a:gd name="connsiteY4" fmla="*/ 862563 h 967338"/>
                <a:gd name="connsiteX5" fmla="*/ 914669 w 1358772"/>
                <a:gd name="connsiteY5" fmla="*/ 967338 h 967338"/>
                <a:gd name="connsiteX6" fmla="*/ 828944 w 1358772"/>
                <a:gd name="connsiteY6" fmla="*/ 881613 h 967338"/>
                <a:gd name="connsiteX7" fmla="*/ 505094 w 1358772"/>
                <a:gd name="connsiteY7" fmla="*/ 772075 h 967338"/>
                <a:gd name="connsiteX8" fmla="*/ 257444 w 1358772"/>
                <a:gd name="connsiteY8" fmla="*/ 824463 h 967338"/>
                <a:gd name="connsiteX9" fmla="*/ 124094 w 1358772"/>
                <a:gd name="connsiteY9" fmla="*/ 938763 h 967338"/>
                <a:gd name="connsiteX10" fmla="*/ 133619 w 1358772"/>
                <a:gd name="connsiteY10" fmla="*/ 776838 h 967338"/>
                <a:gd name="connsiteX11" fmla="*/ 9794 w 1358772"/>
                <a:gd name="connsiteY11" fmla="*/ 529188 h 967338"/>
                <a:gd name="connsiteX12" fmla="*/ 528907 w 1358772"/>
                <a:gd name="connsiteY12" fmla="*/ 372025 h 967338"/>
                <a:gd name="connsiteX13" fmla="*/ 814657 w 1358772"/>
                <a:gd name="connsiteY13" fmla="*/ 24363 h 967338"/>
                <a:gd name="connsiteX14" fmla="*/ 1329007 w 1358772"/>
                <a:gd name="connsiteY14" fmla="*/ 157713 h 967338"/>
                <a:gd name="connsiteX15" fmla="*/ 1190894 w 1358772"/>
                <a:gd name="connsiteY15" fmla="*/ 567288 h 967338"/>
                <a:gd name="connsiteX0" fmla="*/ 1190894 w 1358772"/>
                <a:gd name="connsiteY0" fmla="*/ 567288 h 967338"/>
                <a:gd name="connsiteX1" fmla="*/ 1248044 w 1358772"/>
                <a:gd name="connsiteY1" fmla="*/ 886375 h 967338"/>
                <a:gd name="connsiteX2" fmla="*/ 1038494 w 1358772"/>
                <a:gd name="connsiteY2" fmla="*/ 614913 h 967338"/>
                <a:gd name="connsiteX3" fmla="*/ 976582 w 1358772"/>
                <a:gd name="connsiteY3" fmla="*/ 624438 h 967338"/>
                <a:gd name="connsiteX4" fmla="*/ 895619 w 1358772"/>
                <a:gd name="connsiteY4" fmla="*/ 862563 h 967338"/>
                <a:gd name="connsiteX5" fmla="*/ 914669 w 1358772"/>
                <a:gd name="connsiteY5" fmla="*/ 967338 h 967338"/>
                <a:gd name="connsiteX6" fmla="*/ 828944 w 1358772"/>
                <a:gd name="connsiteY6" fmla="*/ 881613 h 967338"/>
                <a:gd name="connsiteX7" fmla="*/ 505094 w 1358772"/>
                <a:gd name="connsiteY7" fmla="*/ 772075 h 967338"/>
                <a:gd name="connsiteX8" fmla="*/ 257444 w 1358772"/>
                <a:gd name="connsiteY8" fmla="*/ 824463 h 967338"/>
                <a:gd name="connsiteX9" fmla="*/ 124094 w 1358772"/>
                <a:gd name="connsiteY9" fmla="*/ 938763 h 967338"/>
                <a:gd name="connsiteX10" fmla="*/ 133619 w 1358772"/>
                <a:gd name="connsiteY10" fmla="*/ 776838 h 967338"/>
                <a:gd name="connsiteX11" fmla="*/ 9794 w 1358772"/>
                <a:gd name="connsiteY11" fmla="*/ 529188 h 967338"/>
                <a:gd name="connsiteX12" fmla="*/ 528907 w 1358772"/>
                <a:gd name="connsiteY12" fmla="*/ 372025 h 967338"/>
                <a:gd name="connsiteX13" fmla="*/ 814657 w 1358772"/>
                <a:gd name="connsiteY13" fmla="*/ 24363 h 967338"/>
                <a:gd name="connsiteX14" fmla="*/ 1329007 w 1358772"/>
                <a:gd name="connsiteY14" fmla="*/ 157713 h 967338"/>
                <a:gd name="connsiteX15" fmla="*/ 1190894 w 1358772"/>
                <a:gd name="connsiteY15" fmla="*/ 567288 h 967338"/>
                <a:gd name="connsiteX0" fmla="*/ 1190894 w 1358772"/>
                <a:gd name="connsiteY0" fmla="*/ 567288 h 967338"/>
                <a:gd name="connsiteX1" fmla="*/ 1248044 w 1358772"/>
                <a:gd name="connsiteY1" fmla="*/ 886375 h 967338"/>
                <a:gd name="connsiteX2" fmla="*/ 1038494 w 1358772"/>
                <a:gd name="connsiteY2" fmla="*/ 614913 h 967338"/>
                <a:gd name="connsiteX3" fmla="*/ 976582 w 1358772"/>
                <a:gd name="connsiteY3" fmla="*/ 624438 h 967338"/>
                <a:gd name="connsiteX4" fmla="*/ 895619 w 1358772"/>
                <a:gd name="connsiteY4" fmla="*/ 862563 h 967338"/>
                <a:gd name="connsiteX5" fmla="*/ 914669 w 1358772"/>
                <a:gd name="connsiteY5" fmla="*/ 967338 h 967338"/>
                <a:gd name="connsiteX6" fmla="*/ 828944 w 1358772"/>
                <a:gd name="connsiteY6" fmla="*/ 881613 h 967338"/>
                <a:gd name="connsiteX7" fmla="*/ 505094 w 1358772"/>
                <a:gd name="connsiteY7" fmla="*/ 772075 h 967338"/>
                <a:gd name="connsiteX8" fmla="*/ 257444 w 1358772"/>
                <a:gd name="connsiteY8" fmla="*/ 824463 h 967338"/>
                <a:gd name="connsiteX9" fmla="*/ 124094 w 1358772"/>
                <a:gd name="connsiteY9" fmla="*/ 938763 h 967338"/>
                <a:gd name="connsiteX10" fmla="*/ 133619 w 1358772"/>
                <a:gd name="connsiteY10" fmla="*/ 776838 h 967338"/>
                <a:gd name="connsiteX11" fmla="*/ 9794 w 1358772"/>
                <a:gd name="connsiteY11" fmla="*/ 529188 h 967338"/>
                <a:gd name="connsiteX12" fmla="*/ 528907 w 1358772"/>
                <a:gd name="connsiteY12" fmla="*/ 372025 h 967338"/>
                <a:gd name="connsiteX13" fmla="*/ 814657 w 1358772"/>
                <a:gd name="connsiteY13" fmla="*/ 24363 h 967338"/>
                <a:gd name="connsiteX14" fmla="*/ 1329007 w 1358772"/>
                <a:gd name="connsiteY14" fmla="*/ 157713 h 967338"/>
                <a:gd name="connsiteX15" fmla="*/ 1190894 w 1358772"/>
                <a:gd name="connsiteY15" fmla="*/ 567288 h 967338"/>
                <a:gd name="connsiteX0" fmla="*/ 1190894 w 1358772"/>
                <a:gd name="connsiteY0" fmla="*/ 567288 h 967338"/>
                <a:gd name="connsiteX1" fmla="*/ 1248044 w 1358772"/>
                <a:gd name="connsiteY1" fmla="*/ 886375 h 967338"/>
                <a:gd name="connsiteX2" fmla="*/ 1038494 w 1358772"/>
                <a:gd name="connsiteY2" fmla="*/ 614913 h 967338"/>
                <a:gd name="connsiteX3" fmla="*/ 976582 w 1358772"/>
                <a:gd name="connsiteY3" fmla="*/ 624438 h 967338"/>
                <a:gd name="connsiteX4" fmla="*/ 895619 w 1358772"/>
                <a:gd name="connsiteY4" fmla="*/ 862563 h 967338"/>
                <a:gd name="connsiteX5" fmla="*/ 914669 w 1358772"/>
                <a:gd name="connsiteY5" fmla="*/ 967338 h 967338"/>
                <a:gd name="connsiteX6" fmla="*/ 828944 w 1358772"/>
                <a:gd name="connsiteY6" fmla="*/ 881613 h 967338"/>
                <a:gd name="connsiteX7" fmla="*/ 505094 w 1358772"/>
                <a:gd name="connsiteY7" fmla="*/ 772075 h 967338"/>
                <a:gd name="connsiteX8" fmla="*/ 257444 w 1358772"/>
                <a:gd name="connsiteY8" fmla="*/ 824463 h 967338"/>
                <a:gd name="connsiteX9" fmla="*/ 124094 w 1358772"/>
                <a:gd name="connsiteY9" fmla="*/ 938763 h 967338"/>
                <a:gd name="connsiteX10" fmla="*/ 133619 w 1358772"/>
                <a:gd name="connsiteY10" fmla="*/ 776838 h 967338"/>
                <a:gd name="connsiteX11" fmla="*/ 9794 w 1358772"/>
                <a:gd name="connsiteY11" fmla="*/ 529188 h 967338"/>
                <a:gd name="connsiteX12" fmla="*/ 528907 w 1358772"/>
                <a:gd name="connsiteY12" fmla="*/ 372025 h 967338"/>
                <a:gd name="connsiteX13" fmla="*/ 814657 w 1358772"/>
                <a:gd name="connsiteY13" fmla="*/ 24363 h 967338"/>
                <a:gd name="connsiteX14" fmla="*/ 1329007 w 1358772"/>
                <a:gd name="connsiteY14" fmla="*/ 157713 h 967338"/>
                <a:gd name="connsiteX15" fmla="*/ 1190894 w 1358772"/>
                <a:gd name="connsiteY15" fmla="*/ 567288 h 967338"/>
                <a:gd name="connsiteX0" fmla="*/ 1190894 w 1358772"/>
                <a:gd name="connsiteY0" fmla="*/ 567288 h 967338"/>
                <a:gd name="connsiteX1" fmla="*/ 1248044 w 1358772"/>
                <a:gd name="connsiteY1" fmla="*/ 886375 h 967338"/>
                <a:gd name="connsiteX2" fmla="*/ 1038494 w 1358772"/>
                <a:gd name="connsiteY2" fmla="*/ 614913 h 967338"/>
                <a:gd name="connsiteX3" fmla="*/ 976582 w 1358772"/>
                <a:gd name="connsiteY3" fmla="*/ 624438 h 967338"/>
                <a:gd name="connsiteX4" fmla="*/ 895619 w 1358772"/>
                <a:gd name="connsiteY4" fmla="*/ 862563 h 967338"/>
                <a:gd name="connsiteX5" fmla="*/ 914669 w 1358772"/>
                <a:gd name="connsiteY5" fmla="*/ 967338 h 967338"/>
                <a:gd name="connsiteX6" fmla="*/ 828944 w 1358772"/>
                <a:gd name="connsiteY6" fmla="*/ 881613 h 967338"/>
                <a:gd name="connsiteX7" fmla="*/ 505094 w 1358772"/>
                <a:gd name="connsiteY7" fmla="*/ 772075 h 967338"/>
                <a:gd name="connsiteX8" fmla="*/ 257444 w 1358772"/>
                <a:gd name="connsiteY8" fmla="*/ 824463 h 967338"/>
                <a:gd name="connsiteX9" fmla="*/ 124094 w 1358772"/>
                <a:gd name="connsiteY9" fmla="*/ 938763 h 967338"/>
                <a:gd name="connsiteX10" fmla="*/ 133619 w 1358772"/>
                <a:gd name="connsiteY10" fmla="*/ 776838 h 967338"/>
                <a:gd name="connsiteX11" fmla="*/ 9794 w 1358772"/>
                <a:gd name="connsiteY11" fmla="*/ 529188 h 967338"/>
                <a:gd name="connsiteX12" fmla="*/ 528907 w 1358772"/>
                <a:gd name="connsiteY12" fmla="*/ 372025 h 967338"/>
                <a:gd name="connsiteX13" fmla="*/ 814657 w 1358772"/>
                <a:gd name="connsiteY13" fmla="*/ 24363 h 967338"/>
                <a:gd name="connsiteX14" fmla="*/ 1329007 w 1358772"/>
                <a:gd name="connsiteY14" fmla="*/ 157713 h 967338"/>
                <a:gd name="connsiteX15" fmla="*/ 1190894 w 1358772"/>
                <a:gd name="connsiteY15" fmla="*/ 567288 h 96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58772" h="967338">
                  <a:moveTo>
                    <a:pt x="1190894" y="567288"/>
                  </a:moveTo>
                  <a:lnTo>
                    <a:pt x="1248044" y="886375"/>
                  </a:lnTo>
                  <a:lnTo>
                    <a:pt x="1038494" y="614913"/>
                  </a:lnTo>
                  <a:lnTo>
                    <a:pt x="976582" y="624438"/>
                  </a:lnTo>
                  <a:cubicBezTo>
                    <a:pt x="1016269" y="722863"/>
                    <a:pt x="1003569" y="802238"/>
                    <a:pt x="895619" y="862563"/>
                  </a:cubicBezTo>
                  <a:lnTo>
                    <a:pt x="914669" y="967338"/>
                  </a:lnTo>
                  <a:lnTo>
                    <a:pt x="828944" y="881613"/>
                  </a:lnTo>
                  <a:cubicBezTo>
                    <a:pt x="706707" y="907013"/>
                    <a:pt x="584469" y="870501"/>
                    <a:pt x="505094" y="772075"/>
                  </a:cubicBezTo>
                  <a:cubicBezTo>
                    <a:pt x="446357" y="827638"/>
                    <a:pt x="344756" y="849863"/>
                    <a:pt x="257444" y="824463"/>
                  </a:cubicBezTo>
                  <a:lnTo>
                    <a:pt x="124094" y="938763"/>
                  </a:lnTo>
                  <a:lnTo>
                    <a:pt x="133619" y="776838"/>
                  </a:lnTo>
                  <a:cubicBezTo>
                    <a:pt x="59007" y="760963"/>
                    <a:pt x="-29894" y="654601"/>
                    <a:pt x="9794" y="529188"/>
                  </a:cubicBezTo>
                  <a:cubicBezTo>
                    <a:pt x="68532" y="343450"/>
                    <a:pt x="351106" y="262488"/>
                    <a:pt x="528907" y="372025"/>
                  </a:cubicBezTo>
                  <a:cubicBezTo>
                    <a:pt x="505094" y="165650"/>
                    <a:pt x="695595" y="59288"/>
                    <a:pt x="814657" y="24363"/>
                  </a:cubicBezTo>
                  <a:cubicBezTo>
                    <a:pt x="943245" y="-16912"/>
                    <a:pt x="1219469" y="-24849"/>
                    <a:pt x="1329007" y="157713"/>
                  </a:cubicBezTo>
                  <a:cubicBezTo>
                    <a:pt x="1411556" y="346626"/>
                    <a:pt x="1308369" y="516488"/>
                    <a:pt x="1190894" y="567288"/>
                  </a:cubicBezTo>
                  <a:close/>
                </a:path>
              </a:pathLst>
            </a:custGeom>
            <a:solidFill>
              <a:sysClr val="window" lastClr="FFFFFF"/>
            </a:solidFill>
            <a:ln w="19050" cap="flat" cmpd="sng" algn="ctr">
              <a:solidFill>
                <a:srgbClr val="0098C7"/>
              </a:solidFill>
              <a:prstDash val="solid"/>
            </a:ln>
            <a:effectLst/>
          </p:spPr>
          <p:txBody>
            <a:bodyPr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998C85">
                    <a:lumMod val="50000"/>
                  </a:srgbClr>
                </a:solidFill>
                <a:effectLst/>
                <a:uLnTx/>
                <a:uFillTx/>
                <a:latin typeface="Segoe UI" panose="020B0502040204020203" pitchFamily="34" charset="0"/>
                <a:ea typeface="+mn-ea"/>
                <a:cs typeface="Segoe UI" panose="020B0502040204020203" pitchFamily="34" charset="0"/>
              </a:endParaRPr>
            </a:p>
          </p:txBody>
        </p:sp>
        <p:sp>
          <p:nvSpPr>
            <p:cNvPr id="26" name="Rounded Rectangle 2">
              <a:extLst>
                <a:ext uri="{FF2B5EF4-FFF2-40B4-BE49-F238E27FC236}">
                  <a16:creationId xmlns:a16="http://schemas.microsoft.com/office/drawing/2014/main" id="{15CE521F-5658-633F-D7DE-2C6AA6ED9079}"/>
                </a:ext>
              </a:extLst>
            </p:cNvPr>
            <p:cNvSpPr/>
            <p:nvPr/>
          </p:nvSpPr>
          <p:spPr>
            <a:xfrm>
              <a:off x="220404" y="985859"/>
              <a:ext cx="1671606" cy="23772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Minor Enhancement</a:t>
              </a:r>
            </a:p>
          </p:txBody>
        </p:sp>
        <p:sp>
          <p:nvSpPr>
            <p:cNvPr id="27" name="Rounded Rectangle 100">
              <a:extLst>
                <a:ext uri="{FF2B5EF4-FFF2-40B4-BE49-F238E27FC236}">
                  <a16:creationId xmlns:a16="http://schemas.microsoft.com/office/drawing/2014/main" id="{E7C7A779-3105-3324-D6D1-26C14943BE56}"/>
                </a:ext>
              </a:extLst>
            </p:cNvPr>
            <p:cNvSpPr/>
            <p:nvPr/>
          </p:nvSpPr>
          <p:spPr>
            <a:xfrm>
              <a:off x="2000468" y="985859"/>
              <a:ext cx="968434" cy="23772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ickets</a:t>
              </a:r>
            </a:p>
          </p:txBody>
        </p:sp>
      </p:grpSp>
      <p:sp>
        <p:nvSpPr>
          <p:cNvPr id="31" name="TextBox 30">
            <a:extLst>
              <a:ext uri="{FF2B5EF4-FFF2-40B4-BE49-F238E27FC236}">
                <a16:creationId xmlns:a16="http://schemas.microsoft.com/office/drawing/2014/main" id="{F4C501FE-AD01-AED7-FE23-E16D07456DBF}"/>
              </a:ext>
            </a:extLst>
          </p:cNvPr>
          <p:cNvSpPr txBox="1"/>
          <p:nvPr/>
        </p:nvSpPr>
        <p:spPr bwMode="auto">
          <a:xfrm>
            <a:off x="3175796" y="2526045"/>
            <a:ext cx="1583831" cy="368942"/>
          </a:xfrm>
          <a:prstGeom prst="rect">
            <a:avLst/>
          </a:prstGeom>
          <a:noFill/>
        </p:spPr>
        <p:txBody>
          <a:bodyPr wrap="square">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utomation Feasibility</a:t>
            </a:r>
            <a:br>
              <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100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Validation</a:t>
            </a:r>
          </a:p>
        </p:txBody>
      </p:sp>
      <p:sp>
        <p:nvSpPr>
          <p:cNvPr id="32" name="TextBox 99">
            <a:extLst>
              <a:ext uri="{FF2B5EF4-FFF2-40B4-BE49-F238E27FC236}">
                <a16:creationId xmlns:a16="http://schemas.microsoft.com/office/drawing/2014/main" id="{5A8E1DE3-6665-09CD-4E12-7585A9E2FB2F}"/>
              </a:ext>
            </a:extLst>
          </p:cNvPr>
          <p:cNvSpPr txBox="1">
            <a:spLocks noChangeArrowheads="1"/>
          </p:cNvSpPr>
          <p:nvPr/>
        </p:nvSpPr>
        <p:spPr bwMode="auto">
          <a:xfrm>
            <a:off x="4550587" y="2780858"/>
            <a:ext cx="432958" cy="215444"/>
          </a:xfrm>
          <a:prstGeom prst="rect">
            <a:avLst/>
          </a:prstGeom>
          <a:noFill/>
          <a:ln w="9525">
            <a:noFill/>
            <a:miter lim="800000"/>
            <a:headEnd/>
            <a:tailEnd/>
          </a:ln>
        </p:spPr>
        <p:txBody>
          <a:bodyPr>
            <a:spAutoFit/>
          </a:bodyPr>
          <a:lstStyle>
            <a:defPPr>
              <a:defRPr lang="en-US"/>
            </a:defPPr>
            <a:lvl1pPr marR="0" lvl="0" indent="0" fontAlgn="auto">
              <a:lnSpc>
                <a:spcPct val="100000"/>
              </a:lnSpc>
              <a:spcBef>
                <a:spcPts val="0"/>
              </a:spcBef>
              <a:spcAft>
                <a:spcPts val="0"/>
              </a:spcAft>
              <a:buClrTx/>
              <a:buSzTx/>
              <a:buFontTx/>
              <a:buNone/>
              <a:tabLst/>
              <a:defRPr kumimoji="0" sz="800" b="1" i="1" u="none" strike="noStrike" kern="0" cap="none" spc="0" normalizeH="0" baseline="0">
                <a:ln>
                  <a:noFill/>
                </a:ln>
                <a:solidFill>
                  <a:sysClr val="windowText" lastClr="000000"/>
                </a:solidFill>
                <a:effectLst/>
                <a:uLnTx/>
                <a:uFillTx/>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YES</a:t>
            </a:r>
          </a:p>
        </p:txBody>
      </p:sp>
      <p:sp>
        <p:nvSpPr>
          <p:cNvPr id="33" name="TextBox 100">
            <a:extLst>
              <a:ext uri="{FF2B5EF4-FFF2-40B4-BE49-F238E27FC236}">
                <a16:creationId xmlns:a16="http://schemas.microsoft.com/office/drawing/2014/main" id="{3BE10BA3-F5F5-3283-6FED-A116B0BBAA6D}"/>
              </a:ext>
            </a:extLst>
          </p:cNvPr>
          <p:cNvSpPr txBox="1">
            <a:spLocks noChangeArrowheads="1"/>
          </p:cNvSpPr>
          <p:nvPr/>
        </p:nvSpPr>
        <p:spPr bwMode="auto">
          <a:xfrm>
            <a:off x="3273611" y="3004515"/>
            <a:ext cx="431401" cy="198661"/>
          </a:xfrm>
          <a:prstGeom prst="rect">
            <a:avLst/>
          </a:prstGeom>
          <a:noFill/>
          <a:ln w="9525">
            <a:noFill/>
            <a:miter lim="800000"/>
            <a:headEnd/>
            <a:tailEnd/>
          </a:ln>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NO</a:t>
            </a:r>
          </a:p>
        </p:txBody>
      </p:sp>
      <p:sp>
        <p:nvSpPr>
          <p:cNvPr id="34" name="Oval 33">
            <a:extLst>
              <a:ext uri="{FF2B5EF4-FFF2-40B4-BE49-F238E27FC236}">
                <a16:creationId xmlns:a16="http://schemas.microsoft.com/office/drawing/2014/main" id="{54A99078-01B6-0BF2-8240-1E3D982770ED}"/>
              </a:ext>
            </a:extLst>
          </p:cNvPr>
          <p:cNvSpPr/>
          <p:nvPr/>
        </p:nvSpPr>
        <p:spPr>
          <a:xfrm>
            <a:off x="8038297" y="1513678"/>
            <a:ext cx="528796" cy="497027"/>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35" name="Group 34">
            <a:extLst>
              <a:ext uri="{FF2B5EF4-FFF2-40B4-BE49-F238E27FC236}">
                <a16:creationId xmlns:a16="http://schemas.microsoft.com/office/drawing/2014/main" id="{BB07A863-518D-5FA0-3CC7-2425E2303D31}"/>
              </a:ext>
            </a:extLst>
          </p:cNvPr>
          <p:cNvGrpSpPr/>
          <p:nvPr/>
        </p:nvGrpSpPr>
        <p:grpSpPr>
          <a:xfrm>
            <a:off x="8073555" y="1572096"/>
            <a:ext cx="458278" cy="360372"/>
            <a:chOff x="10592918" y="684424"/>
            <a:chExt cx="819818" cy="685880"/>
          </a:xfrm>
        </p:grpSpPr>
        <p:sp>
          <p:nvSpPr>
            <p:cNvPr id="36" name="Freeform 171">
              <a:extLst>
                <a:ext uri="{FF2B5EF4-FFF2-40B4-BE49-F238E27FC236}">
                  <a16:creationId xmlns:a16="http://schemas.microsoft.com/office/drawing/2014/main" id="{3D1BAEA8-57A6-320F-9C1B-EADBEAEFDB1F}"/>
                </a:ext>
              </a:extLst>
            </p:cNvPr>
            <p:cNvSpPr/>
            <p:nvPr/>
          </p:nvSpPr>
          <p:spPr>
            <a:xfrm>
              <a:off x="10723308" y="684424"/>
              <a:ext cx="567166" cy="685880"/>
            </a:xfrm>
            <a:custGeom>
              <a:avLst/>
              <a:gdLst>
                <a:gd name="connsiteX0" fmla="*/ 0 w 1161980"/>
                <a:gd name="connsiteY0" fmla="*/ 702272 h 1404544"/>
                <a:gd name="connsiteX1" fmla="*/ 133336 w 1161980"/>
                <a:gd name="connsiteY1" fmla="*/ 254618 h 1404544"/>
                <a:gd name="connsiteX2" fmla="*/ 580991 w 1161980"/>
                <a:gd name="connsiteY2" fmla="*/ 1 h 1404544"/>
                <a:gd name="connsiteX3" fmla="*/ 1028645 w 1161980"/>
                <a:gd name="connsiteY3" fmla="*/ 254620 h 1404544"/>
                <a:gd name="connsiteX4" fmla="*/ 1161980 w 1161980"/>
                <a:gd name="connsiteY4" fmla="*/ 702274 h 1404544"/>
                <a:gd name="connsiteX5" fmla="*/ 1028644 w 1161980"/>
                <a:gd name="connsiteY5" fmla="*/ 1149928 h 1404544"/>
                <a:gd name="connsiteX6" fmla="*/ 580989 w 1161980"/>
                <a:gd name="connsiteY6" fmla="*/ 1404546 h 1404544"/>
                <a:gd name="connsiteX7" fmla="*/ 133335 w 1161980"/>
                <a:gd name="connsiteY7" fmla="*/ 1149928 h 1404544"/>
                <a:gd name="connsiteX8" fmla="*/ 0 w 1161980"/>
                <a:gd name="connsiteY8" fmla="*/ 702274 h 1404544"/>
                <a:gd name="connsiteX9" fmla="*/ 0 w 1161980"/>
                <a:gd name="connsiteY9" fmla="*/ 702272 h 1404544"/>
                <a:gd name="connsiteX0" fmla="*/ 1 w 1161981"/>
                <a:gd name="connsiteY0" fmla="*/ 702271 h 1427425"/>
                <a:gd name="connsiteX1" fmla="*/ 133337 w 1161981"/>
                <a:gd name="connsiteY1" fmla="*/ 254617 h 1427425"/>
                <a:gd name="connsiteX2" fmla="*/ 580992 w 1161981"/>
                <a:gd name="connsiteY2" fmla="*/ 0 h 1427425"/>
                <a:gd name="connsiteX3" fmla="*/ 1028646 w 1161981"/>
                <a:gd name="connsiteY3" fmla="*/ 254619 h 1427425"/>
                <a:gd name="connsiteX4" fmla="*/ 1161981 w 1161981"/>
                <a:gd name="connsiteY4" fmla="*/ 702273 h 1427425"/>
                <a:gd name="connsiteX5" fmla="*/ 1028645 w 1161981"/>
                <a:gd name="connsiteY5" fmla="*/ 1149927 h 1427425"/>
                <a:gd name="connsiteX6" fmla="*/ 915384 w 1161981"/>
                <a:gd name="connsiteY6" fmla="*/ 1287208 h 1427425"/>
                <a:gd name="connsiteX7" fmla="*/ 580990 w 1161981"/>
                <a:gd name="connsiteY7" fmla="*/ 1404545 h 1427425"/>
                <a:gd name="connsiteX8" fmla="*/ 133336 w 1161981"/>
                <a:gd name="connsiteY8" fmla="*/ 1149927 h 1427425"/>
                <a:gd name="connsiteX9" fmla="*/ 1 w 1161981"/>
                <a:gd name="connsiteY9" fmla="*/ 702273 h 1427425"/>
                <a:gd name="connsiteX10" fmla="*/ 1 w 1161981"/>
                <a:gd name="connsiteY10" fmla="*/ 702271 h 1427425"/>
                <a:gd name="connsiteX0" fmla="*/ 915384 w 1161981"/>
                <a:gd name="connsiteY0" fmla="*/ 1287208 h 1427425"/>
                <a:gd name="connsiteX1" fmla="*/ 580990 w 1161981"/>
                <a:gd name="connsiteY1" fmla="*/ 1404545 h 1427425"/>
                <a:gd name="connsiteX2" fmla="*/ 133336 w 1161981"/>
                <a:gd name="connsiteY2" fmla="*/ 1149927 h 1427425"/>
                <a:gd name="connsiteX3" fmla="*/ 1 w 1161981"/>
                <a:gd name="connsiteY3" fmla="*/ 702273 h 1427425"/>
                <a:gd name="connsiteX4" fmla="*/ 1 w 1161981"/>
                <a:gd name="connsiteY4" fmla="*/ 702271 h 1427425"/>
                <a:gd name="connsiteX5" fmla="*/ 133337 w 1161981"/>
                <a:gd name="connsiteY5" fmla="*/ 254617 h 1427425"/>
                <a:gd name="connsiteX6" fmla="*/ 580992 w 1161981"/>
                <a:gd name="connsiteY6" fmla="*/ 0 h 1427425"/>
                <a:gd name="connsiteX7" fmla="*/ 1028646 w 1161981"/>
                <a:gd name="connsiteY7" fmla="*/ 254619 h 1427425"/>
                <a:gd name="connsiteX8" fmla="*/ 1161981 w 1161981"/>
                <a:gd name="connsiteY8" fmla="*/ 702273 h 1427425"/>
                <a:gd name="connsiteX9" fmla="*/ 1028645 w 1161981"/>
                <a:gd name="connsiteY9" fmla="*/ 1149927 h 1427425"/>
                <a:gd name="connsiteX10" fmla="*/ 1006824 w 1161981"/>
                <a:gd name="connsiteY10" fmla="*/ 1378648 h 1427425"/>
                <a:gd name="connsiteX0" fmla="*/ 915384 w 1161981"/>
                <a:gd name="connsiteY0" fmla="*/ 1287208 h 1427425"/>
                <a:gd name="connsiteX1" fmla="*/ 580990 w 1161981"/>
                <a:gd name="connsiteY1" fmla="*/ 1404545 h 1427425"/>
                <a:gd name="connsiteX2" fmla="*/ 133336 w 1161981"/>
                <a:gd name="connsiteY2" fmla="*/ 1149927 h 1427425"/>
                <a:gd name="connsiteX3" fmla="*/ 1 w 1161981"/>
                <a:gd name="connsiteY3" fmla="*/ 702273 h 1427425"/>
                <a:gd name="connsiteX4" fmla="*/ 1 w 1161981"/>
                <a:gd name="connsiteY4" fmla="*/ 702271 h 1427425"/>
                <a:gd name="connsiteX5" fmla="*/ 133337 w 1161981"/>
                <a:gd name="connsiteY5" fmla="*/ 254617 h 1427425"/>
                <a:gd name="connsiteX6" fmla="*/ 580992 w 1161981"/>
                <a:gd name="connsiteY6" fmla="*/ 0 h 1427425"/>
                <a:gd name="connsiteX7" fmla="*/ 1028646 w 1161981"/>
                <a:gd name="connsiteY7" fmla="*/ 254619 h 1427425"/>
                <a:gd name="connsiteX8" fmla="*/ 1161981 w 1161981"/>
                <a:gd name="connsiteY8" fmla="*/ 702273 h 1427425"/>
                <a:gd name="connsiteX9" fmla="*/ 1028645 w 1161981"/>
                <a:gd name="connsiteY9" fmla="*/ 1149927 h 1427425"/>
                <a:gd name="connsiteX0" fmla="*/ 915384 w 1161981"/>
                <a:gd name="connsiteY0" fmla="*/ 1287208 h 1427425"/>
                <a:gd name="connsiteX1" fmla="*/ 580990 w 1161981"/>
                <a:gd name="connsiteY1" fmla="*/ 1404545 h 1427425"/>
                <a:gd name="connsiteX2" fmla="*/ 133336 w 1161981"/>
                <a:gd name="connsiteY2" fmla="*/ 1149927 h 1427425"/>
                <a:gd name="connsiteX3" fmla="*/ 1 w 1161981"/>
                <a:gd name="connsiteY3" fmla="*/ 702273 h 1427425"/>
                <a:gd name="connsiteX4" fmla="*/ 1 w 1161981"/>
                <a:gd name="connsiteY4" fmla="*/ 702271 h 1427425"/>
                <a:gd name="connsiteX5" fmla="*/ 133337 w 1161981"/>
                <a:gd name="connsiteY5" fmla="*/ 254617 h 1427425"/>
                <a:gd name="connsiteX6" fmla="*/ 580992 w 1161981"/>
                <a:gd name="connsiteY6" fmla="*/ 0 h 1427425"/>
                <a:gd name="connsiteX7" fmla="*/ 1028646 w 1161981"/>
                <a:gd name="connsiteY7" fmla="*/ 254619 h 1427425"/>
                <a:gd name="connsiteX8" fmla="*/ 1161981 w 1161981"/>
                <a:gd name="connsiteY8" fmla="*/ 702273 h 1427425"/>
                <a:gd name="connsiteX9" fmla="*/ 1028645 w 1161981"/>
                <a:gd name="connsiteY9" fmla="*/ 1149927 h 1427425"/>
                <a:gd name="connsiteX0" fmla="*/ 915384 w 1161981"/>
                <a:gd name="connsiteY0" fmla="*/ 1287208 h 1427425"/>
                <a:gd name="connsiteX1" fmla="*/ 580990 w 1161981"/>
                <a:gd name="connsiteY1" fmla="*/ 1404545 h 1427425"/>
                <a:gd name="connsiteX2" fmla="*/ 133336 w 1161981"/>
                <a:gd name="connsiteY2" fmla="*/ 1149927 h 1427425"/>
                <a:gd name="connsiteX3" fmla="*/ 1 w 1161981"/>
                <a:gd name="connsiteY3" fmla="*/ 702273 h 1427425"/>
                <a:gd name="connsiteX4" fmla="*/ 1 w 1161981"/>
                <a:gd name="connsiteY4" fmla="*/ 702271 h 1427425"/>
                <a:gd name="connsiteX5" fmla="*/ 133337 w 1161981"/>
                <a:gd name="connsiteY5" fmla="*/ 254617 h 1427425"/>
                <a:gd name="connsiteX6" fmla="*/ 580992 w 1161981"/>
                <a:gd name="connsiteY6" fmla="*/ 0 h 1427425"/>
                <a:gd name="connsiteX7" fmla="*/ 1028646 w 1161981"/>
                <a:gd name="connsiteY7" fmla="*/ 254619 h 1427425"/>
                <a:gd name="connsiteX8" fmla="*/ 1161981 w 1161981"/>
                <a:gd name="connsiteY8" fmla="*/ 702273 h 1427425"/>
                <a:gd name="connsiteX9" fmla="*/ 1028645 w 1161981"/>
                <a:gd name="connsiteY9" fmla="*/ 1149927 h 1427425"/>
                <a:gd name="connsiteX0" fmla="*/ 915384 w 1161981"/>
                <a:gd name="connsiteY0" fmla="*/ 1287208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9" fmla="*/ 1028645 w 1161981"/>
                <a:gd name="connsiteY9" fmla="*/ 1149927 h 1405200"/>
                <a:gd name="connsiteX0" fmla="*/ 909034 w 1161981"/>
                <a:gd name="connsiteY0" fmla="*/ 1284033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9" fmla="*/ 1028645 w 1161981"/>
                <a:gd name="connsiteY9" fmla="*/ 1149927 h 1405200"/>
                <a:gd name="connsiteX0" fmla="*/ 909034 w 1161981"/>
                <a:gd name="connsiteY0" fmla="*/ 1284033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9" fmla="*/ 1028645 w 1161981"/>
                <a:gd name="connsiteY9" fmla="*/ 1149927 h 1405200"/>
                <a:gd name="connsiteX0" fmla="*/ 909034 w 1161981"/>
                <a:gd name="connsiteY0" fmla="*/ 1284033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9" fmla="*/ 1028645 w 1161981"/>
                <a:gd name="connsiteY9" fmla="*/ 1149927 h 140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1981" h="1405200">
                  <a:moveTo>
                    <a:pt x="909034" y="1284033"/>
                  </a:moveTo>
                  <a:cubicBezTo>
                    <a:pt x="856650" y="1329644"/>
                    <a:pt x="730381" y="1405200"/>
                    <a:pt x="580990" y="1404545"/>
                  </a:cubicBezTo>
                  <a:cubicBezTo>
                    <a:pt x="399849" y="1394365"/>
                    <a:pt x="243709" y="1311191"/>
                    <a:pt x="133336" y="1149927"/>
                  </a:cubicBezTo>
                  <a:cubicBezTo>
                    <a:pt x="47153" y="1024007"/>
                    <a:pt x="0" y="865698"/>
                    <a:pt x="1" y="702273"/>
                  </a:cubicBezTo>
                  <a:lnTo>
                    <a:pt x="1" y="702271"/>
                  </a:lnTo>
                  <a:cubicBezTo>
                    <a:pt x="1" y="538845"/>
                    <a:pt x="47154" y="380536"/>
                    <a:pt x="133337" y="254617"/>
                  </a:cubicBezTo>
                  <a:cubicBezTo>
                    <a:pt x="243711" y="93353"/>
                    <a:pt x="407840" y="0"/>
                    <a:pt x="580992" y="0"/>
                  </a:cubicBezTo>
                  <a:cubicBezTo>
                    <a:pt x="754144" y="0"/>
                    <a:pt x="918273" y="93354"/>
                    <a:pt x="1028646" y="254619"/>
                  </a:cubicBezTo>
                  <a:cubicBezTo>
                    <a:pt x="1114829" y="380539"/>
                    <a:pt x="1161981" y="538848"/>
                    <a:pt x="1161981" y="702273"/>
                  </a:cubicBezTo>
                  <a:cubicBezTo>
                    <a:pt x="1161981" y="865699"/>
                    <a:pt x="1117370" y="1049263"/>
                    <a:pt x="1028645" y="1149927"/>
                  </a:cubicBezTo>
                </a:path>
              </a:pathLst>
            </a:custGeom>
            <a:noFill/>
            <a:ln w="19050" cap="rnd" cmpd="sng" algn="ctr">
              <a:solidFill>
                <a:schemeClr val="bg1"/>
              </a:solidFill>
              <a:prstDash val="solid"/>
            </a:ln>
            <a:effectLst/>
          </p:spPr>
          <p:txBody>
            <a:bodyPr wrap="none" lIns="0" tIns="91440" rIns="0" bIns="91440" anchor="ct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250" b="1"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1 0 1 1</a:t>
              </a:r>
            </a:p>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250" b="1"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0 0 1 1 1 0 1</a:t>
              </a:r>
            </a:p>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250" b="1"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0 1 0 0 1 1 0 1</a:t>
              </a:r>
            </a:p>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250" b="1"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1 0 1 0 1 1 0 0</a:t>
              </a:r>
            </a:p>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250" b="1"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1 0 1 1</a:t>
              </a:r>
            </a:p>
          </p:txBody>
        </p:sp>
        <p:sp>
          <p:nvSpPr>
            <p:cNvPr id="37" name="Freeform 172">
              <a:extLst>
                <a:ext uri="{FF2B5EF4-FFF2-40B4-BE49-F238E27FC236}">
                  <a16:creationId xmlns:a16="http://schemas.microsoft.com/office/drawing/2014/main" id="{17BE37BD-945C-723D-139C-C6EBF511744D}"/>
                </a:ext>
              </a:extLst>
            </p:cNvPr>
            <p:cNvSpPr/>
            <p:nvPr/>
          </p:nvSpPr>
          <p:spPr>
            <a:xfrm>
              <a:off x="10656902" y="808863"/>
              <a:ext cx="65082" cy="437002"/>
            </a:xfrm>
            <a:custGeom>
              <a:avLst/>
              <a:gdLst>
                <a:gd name="connsiteX0" fmla="*/ 0 w 1161980"/>
                <a:gd name="connsiteY0" fmla="*/ 702272 h 1404544"/>
                <a:gd name="connsiteX1" fmla="*/ 133336 w 1161980"/>
                <a:gd name="connsiteY1" fmla="*/ 254618 h 1404544"/>
                <a:gd name="connsiteX2" fmla="*/ 580991 w 1161980"/>
                <a:gd name="connsiteY2" fmla="*/ 1 h 1404544"/>
                <a:gd name="connsiteX3" fmla="*/ 1028645 w 1161980"/>
                <a:gd name="connsiteY3" fmla="*/ 254620 h 1404544"/>
                <a:gd name="connsiteX4" fmla="*/ 1161980 w 1161980"/>
                <a:gd name="connsiteY4" fmla="*/ 702274 h 1404544"/>
                <a:gd name="connsiteX5" fmla="*/ 1028644 w 1161980"/>
                <a:gd name="connsiteY5" fmla="*/ 1149928 h 1404544"/>
                <a:gd name="connsiteX6" fmla="*/ 580989 w 1161980"/>
                <a:gd name="connsiteY6" fmla="*/ 1404546 h 1404544"/>
                <a:gd name="connsiteX7" fmla="*/ 133335 w 1161980"/>
                <a:gd name="connsiteY7" fmla="*/ 1149928 h 1404544"/>
                <a:gd name="connsiteX8" fmla="*/ 0 w 1161980"/>
                <a:gd name="connsiteY8" fmla="*/ 702274 h 1404544"/>
                <a:gd name="connsiteX9" fmla="*/ 0 w 1161980"/>
                <a:gd name="connsiteY9" fmla="*/ 702272 h 1404544"/>
                <a:gd name="connsiteX0" fmla="*/ 1 w 1161981"/>
                <a:gd name="connsiteY0" fmla="*/ 702271 h 1427425"/>
                <a:gd name="connsiteX1" fmla="*/ 133337 w 1161981"/>
                <a:gd name="connsiteY1" fmla="*/ 254617 h 1427425"/>
                <a:gd name="connsiteX2" fmla="*/ 580992 w 1161981"/>
                <a:gd name="connsiteY2" fmla="*/ 0 h 1427425"/>
                <a:gd name="connsiteX3" fmla="*/ 1028646 w 1161981"/>
                <a:gd name="connsiteY3" fmla="*/ 254619 h 1427425"/>
                <a:gd name="connsiteX4" fmla="*/ 1161981 w 1161981"/>
                <a:gd name="connsiteY4" fmla="*/ 702273 h 1427425"/>
                <a:gd name="connsiteX5" fmla="*/ 1028645 w 1161981"/>
                <a:gd name="connsiteY5" fmla="*/ 1149927 h 1427425"/>
                <a:gd name="connsiteX6" fmla="*/ 915384 w 1161981"/>
                <a:gd name="connsiteY6" fmla="*/ 1287208 h 1427425"/>
                <a:gd name="connsiteX7" fmla="*/ 580990 w 1161981"/>
                <a:gd name="connsiteY7" fmla="*/ 1404545 h 1427425"/>
                <a:gd name="connsiteX8" fmla="*/ 133336 w 1161981"/>
                <a:gd name="connsiteY8" fmla="*/ 1149927 h 1427425"/>
                <a:gd name="connsiteX9" fmla="*/ 1 w 1161981"/>
                <a:gd name="connsiteY9" fmla="*/ 702273 h 1427425"/>
                <a:gd name="connsiteX10" fmla="*/ 1 w 1161981"/>
                <a:gd name="connsiteY10" fmla="*/ 702271 h 1427425"/>
                <a:gd name="connsiteX0" fmla="*/ 915384 w 1161981"/>
                <a:gd name="connsiteY0" fmla="*/ 1287208 h 1427425"/>
                <a:gd name="connsiteX1" fmla="*/ 580990 w 1161981"/>
                <a:gd name="connsiteY1" fmla="*/ 1404545 h 1427425"/>
                <a:gd name="connsiteX2" fmla="*/ 133336 w 1161981"/>
                <a:gd name="connsiteY2" fmla="*/ 1149927 h 1427425"/>
                <a:gd name="connsiteX3" fmla="*/ 1 w 1161981"/>
                <a:gd name="connsiteY3" fmla="*/ 702273 h 1427425"/>
                <a:gd name="connsiteX4" fmla="*/ 1 w 1161981"/>
                <a:gd name="connsiteY4" fmla="*/ 702271 h 1427425"/>
                <a:gd name="connsiteX5" fmla="*/ 133337 w 1161981"/>
                <a:gd name="connsiteY5" fmla="*/ 254617 h 1427425"/>
                <a:gd name="connsiteX6" fmla="*/ 580992 w 1161981"/>
                <a:gd name="connsiteY6" fmla="*/ 0 h 1427425"/>
                <a:gd name="connsiteX7" fmla="*/ 1028646 w 1161981"/>
                <a:gd name="connsiteY7" fmla="*/ 254619 h 1427425"/>
                <a:gd name="connsiteX8" fmla="*/ 1161981 w 1161981"/>
                <a:gd name="connsiteY8" fmla="*/ 702273 h 1427425"/>
                <a:gd name="connsiteX9" fmla="*/ 1028645 w 1161981"/>
                <a:gd name="connsiteY9" fmla="*/ 1149927 h 1427425"/>
                <a:gd name="connsiteX10" fmla="*/ 1006824 w 1161981"/>
                <a:gd name="connsiteY10" fmla="*/ 1378648 h 1427425"/>
                <a:gd name="connsiteX0" fmla="*/ 915384 w 1161981"/>
                <a:gd name="connsiteY0" fmla="*/ 1287208 h 1427425"/>
                <a:gd name="connsiteX1" fmla="*/ 580990 w 1161981"/>
                <a:gd name="connsiteY1" fmla="*/ 1404545 h 1427425"/>
                <a:gd name="connsiteX2" fmla="*/ 133336 w 1161981"/>
                <a:gd name="connsiteY2" fmla="*/ 1149927 h 1427425"/>
                <a:gd name="connsiteX3" fmla="*/ 1 w 1161981"/>
                <a:gd name="connsiteY3" fmla="*/ 702273 h 1427425"/>
                <a:gd name="connsiteX4" fmla="*/ 1 w 1161981"/>
                <a:gd name="connsiteY4" fmla="*/ 702271 h 1427425"/>
                <a:gd name="connsiteX5" fmla="*/ 133337 w 1161981"/>
                <a:gd name="connsiteY5" fmla="*/ 254617 h 1427425"/>
                <a:gd name="connsiteX6" fmla="*/ 580992 w 1161981"/>
                <a:gd name="connsiteY6" fmla="*/ 0 h 1427425"/>
                <a:gd name="connsiteX7" fmla="*/ 1028646 w 1161981"/>
                <a:gd name="connsiteY7" fmla="*/ 254619 h 1427425"/>
                <a:gd name="connsiteX8" fmla="*/ 1161981 w 1161981"/>
                <a:gd name="connsiteY8" fmla="*/ 702273 h 1427425"/>
                <a:gd name="connsiteX9" fmla="*/ 1028645 w 1161981"/>
                <a:gd name="connsiteY9" fmla="*/ 1149927 h 1427425"/>
                <a:gd name="connsiteX0" fmla="*/ 915384 w 1161981"/>
                <a:gd name="connsiteY0" fmla="*/ 1287208 h 1427425"/>
                <a:gd name="connsiteX1" fmla="*/ 580990 w 1161981"/>
                <a:gd name="connsiteY1" fmla="*/ 1404545 h 1427425"/>
                <a:gd name="connsiteX2" fmla="*/ 133336 w 1161981"/>
                <a:gd name="connsiteY2" fmla="*/ 1149927 h 1427425"/>
                <a:gd name="connsiteX3" fmla="*/ 1 w 1161981"/>
                <a:gd name="connsiteY3" fmla="*/ 702273 h 1427425"/>
                <a:gd name="connsiteX4" fmla="*/ 1 w 1161981"/>
                <a:gd name="connsiteY4" fmla="*/ 702271 h 1427425"/>
                <a:gd name="connsiteX5" fmla="*/ 133337 w 1161981"/>
                <a:gd name="connsiteY5" fmla="*/ 254617 h 1427425"/>
                <a:gd name="connsiteX6" fmla="*/ 580992 w 1161981"/>
                <a:gd name="connsiteY6" fmla="*/ 0 h 1427425"/>
                <a:gd name="connsiteX7" fmla="*/ 1028646 w 1161981"/>
                <a:gd name="connsiteY7" fmla="*/ 254619 h 1427425"/>
                <a:gd name="connsiteX8" fmla="*/ 1161981 w 1161981"/>
                <a:gd name="connsiteY8" fmla="*/ 702273 h 1427425"/>
                <a:gd name="connsiteX9" fmla="*/ 1028645 w 1161981"/>
                <a:gd name="connsiteY9" fmla="*/ 1149927 h 1427425"/>
                <a:gd name="connsiteX0" fmla="*/ 915384 w 1161981"/>
                <a:gd name="connsiteY0" fmla="*/ 1287208 h 1427425"/>
                <a:gd name="connsiteX1" fmla="*/ 580990 w 1161981"/>
                <a:gd name="connsiteY1" fmla="*/ 1404545 h 1427425"/>
                <a:gd name="connsiteX2" fmla="*/ 133336 w 1161981"/>
                <a:gd name="connsiteY2" fmla="*/ 1149927 h 1427425"/>
                <a:gd name="connsiteX3" fmla="*/ 1 w 1161981"/>
                <a:gd name="connsiteY3" fmla="*/ 702273 h 1427425"/>
                <a:gd name="connsiteX4" fmla="*/ 1 w 1161981"/>
                <a:gd name="connsiteY4" fmla="*/ 702271 h 1427425"/>
                <a:gd name="connsiteX5" fmla="*/ 133337 w 1161981"/>
                <a:gd name="connsiteY5" fmla="*/ 254617 h 1427425"/>
                <a:gd name="connsiteX6" fmla="*/ 580992 w 1161981"/>
                <a:gd name="connsiteY6" fmla="*/ 0 h 1427425"/>
                <a:gd name="connsiteX7" fmla="*/ 1028646 w 1161981"/>
                <a:gd name="connsiteY7" fmla="*/ 254619 h 1427425"/>
                <a:gd name="connsiteX8" fmla="*/ 1161981 w 1161981"/>
                <a:gd name="connsiteY8" fmla="*/ 702273 h 1427425"/>
                <a:gd name="connsiteX9" fmla="*/ 1028645 w 1161981"/>
                <a:gd name="connsiteY9" fmla="*/ 1149927 h 1427425"/>
                <a:gd name="connsiteX0" fmla="*/ 915384 w 1161981"/>
                <a:gd name="connsiteY0" fmla="*/ 1287208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9" fmla="*/ 1028645 w 1161981"/>
                <a:gd name="connsiteY9" fmla="*/ 1149927 h 1405200"/>
                <a:gd name="connsiteX0" fmla="*/ 909034 w 1161981"/>
                <a:gd name="connsiteY0" fmla="*/ 1284033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9" fmla="*/ 1028645 w 1161981"/>
                <a:gd name="connsiteY9" fmla="*/ 1149927 h 1405200"/>
                <a:gd name="connsiteX0" fmla="*/ 909034 w 1161981"/>
                <a:gd name="connsiteY0" fmla="*/ 1284033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9" fmla="*/ 1028645 w 1161981"/>
                <a:gd name="connsiteY9" fmla="*/ 1149927 h 1405200"/>
                <a:gd name="connsiteX0" fmla="*/ 909034 w 1161981"/>
                <a:gd name="connsiteY0" fmla="*/ 1284033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9" fmla="*/ 1028645 w 1161981"/>
                <a:gd name="connsiteY9" fmla="*/ 1149927 h 1405200"/>
                <a:gd name="connsiteX0" fmla="*/ 909034 w 1161981"/>
                <a:gd name="connsiteY0" fmla="*/ 1284033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0" fmla="*/ 580990 w 1161981"/>
                <a:gd name="connsiteY0" fmla="*/ 1404545 h 1404545"/>
                <a:gd name="connsiteX1" fmla="*/ 133336 w 1161981"/>
                <a:gd name="connsiteY1" fmla="*/ 1149927 h 1404545"/>
                <a:gd name="connsiteX2" fmla="*/ 1 w 1161981"/>
                <a:gd name="connsiteY2" fmla="*/ 702273 h 1404545"/>
                <a:gd name="connsiteX3" fmla="*/ 1 w 1161981"/>
                <a:gd name="connsiteY3" fmla="*/ 702271 h 1404545"/>
                <a:gd name="connsiteX4" fmla="*/ 133337 w 1161981"/>
                <a:gd name="connsiteY4" fmla="*/ 254617 h 1404545"/>
                <a:gd name="connsiteX5" fmla="*/ 580992 w 1161981"/>
                <a:gd name="connsiteY5" fmla="*/ 0 h 1404545"/>
                <a:gd name="connsiteX6" fmla="*/ 1028646 w 1161981"/>
                <a:gd name="connsiteY6" fmla="*/ 254619 h 1404545"/>
                <a:gd name="connsiteX7" fmla="*/ 1161981 w 1161981"/>
                <a:gd name="connsiteY7" fmla="*/ 702273 h 1404545"/>
                <a:gd name="connsiteX0" fmla="*/ 580990 w 1028646"/>
                <a:gd name="connsiteY0" fmla="*/ 1404545 h 1404545"/>
                <a:gd name="connsiteX1" fmla="*/ 133336 w 1028646"/>
                <a:gd name="connsiteY1" fmla="*/ 1149927 h 1404545"/>
                <a:gd name="connsiteX2" fmla="*/ 1 w 1028646"/>
                <a:gd name="connsiteY2" fmla="*/ 702273 h 1404545"/>
                <a:gd name="connsiteX3" fmla="*/ 1 w 1028646"/>
                <a:gd name="connsiteY3" fmla="*/ 702271 h 1404545"/>
                <a:gd name="connsiteX4" fmla="*/ 133337 w 1028646"/>
                <a:gd name="connsiteY4" fmla="*/ 254617 h 1404545"/>
                <a:gd name="connsiteX5" fmla="*/ 580992 w 1028646"/>
                <a:gd name="connsiteY5" fmla="*/ 0 h 1404545"/>
                <a:gd name="connsiteX6" fmla="*/ 1028646 w 1028646"/>
                <a:gd name="connsiteY6" fmla="*/ 254619 h 1404545"/>
                <a:gd name="connsiteX0" fmla="*/ 580990 w 580992"/>
                <a:gd name="connsiteY0" fmla="*/ 1404545 h 1404545"/>
                <a:gd name="connsiteX1" fmla="*/ 133336 w 580992"/>
                <a:gd name="connsiteY1" fmla="*/ 1149927 h 1404545"/>
                <a:gd name="connsiteX2" fmla="*/ 1 w 580992"/>
                <a:gd name="connsiteY2" fmla="*/ 702273 h 1404545"/>
                <a:gd name="connsiteX3" fmla="*/ 1 w 580992"/>
                <a:gd name="connsiteY3" fmla="*/ 702271 h 1404545"/>
                <a:gd name="connsiteX4" fmla="*/ 133337 w 580992"/>
                <a:gd name="connsiteY4" fmla="*/ 254617 h 1404545"/>
                <a:gd name="connsiteX5" fmla="*/ 580992 w 580992"/>
                <a:gd name="connsiteY5" fmla="*/ 0 h 1404545"/>
                <a:gd name="connsiteX0" fmla="*/ 580990 w 580990"/>
                <a:gd name="connsiteY0" fmla="*/ 1149928 h 1149928"/>
                <a:gd name="connsiteX1" fmla="*/ 133336 w 580990"/>
                <a:gd name="connsiteY1" fmla="*/ 895310 h 1149928"/>
                <a:gd name="connsiteX2" fmla="*/ 1 w 580990"/>
                <a:gd name="connsiteY2" fmla="*/ 447656 h 1149928"/>
                <a:gd name="connsiteX3" fmla="*/ 1 w 580990"/>
                <a:gd name="connsiteY3" fmla="*/ 447654 h 1149928"/>
                <a:gd name="connsiteX4" fmla="*/ 133337 w 580990"/>
                <a:gd name="connsiteY4" fmla="*/ 0 h 1149928"/>
                <a:gd name="connsiteX0" fmla="*/ 133336 w 133337"/>
                <a:gd name="connsiteY0" fmla="*/ 895310 h 895310"/>
                <a:gd name="connsiteX1" fmla="*/ 1 w 133337"/>
                <a:gd name="connsiteY1" fmla="*/ 447656 h 895310"/>
                <a:gd name="connsiteX2" fmla="*/ 1 w 133337"/>
                <a:gd name="connsiteY2" fmla="*/ 447654 h 895310"/>
                <a:gd name="connsiteX3" fmla="*/ 133337 w 133337"/>
                <a:gd name="connsiteY3" fmla="*/ 0 h 895310"/>
              </a:gdLst>
              <a:ahLst/>
              <a:cxnLst>
                <a:cxn ang="0">
                  <a:pos x="connsiteX0" y="connsiteY0"/>
                </a:cxn>
                <a:cxn ang="0">
                  <a:pos x="connsiteX1" y="connsiteY1"/>
                </a:cxn>
                <a:cxn ang="0">
                  <a:pos x="connsiteX2" y="connsiteY2"/>
                </a:cxn>
                <a:cxn ang="0">
                  <a:pos x="connsiteX3" y="connsiteY3"/>
                </a:cxn>
              </a:cxnLst>
              <a:rect l="l" t="t" r="r" b="b"/>
              <a:pathLst>
                <a:path w="133337" h="895310">
                  <a:moveTo>
                    <a:pt x="133336" y="895310"/>
                  </a:moveTo>
                  <a:cubicBezTo>
                    <a:pt x="47153" y="769390"/>
                    <a:pt x="0" y="611081"/>
                    <a:pt x="1" y="447656"/>
                  </a:cubicBezTo>
                  <a:lnTo>
                    <a:pt x="1" y="447654"/>
                  </a:lnTo>
                  <a:cubicBezTo>
                    <a:pt x="1" y="284228"/>
                    <a:pt x="47154" y="125919"/>
                    <a:pt x="133337" y="0"/>
                  </a:cubicBezTo>
                </a:path>
              </a:pathLst>
            </a:custGeom>
            <a:noFill/>
            <a:ln w="19050" cap="rnd" cmpd="sng" algn="ctr">
              <a:solidFill>
                <a:schemeClr val="bg1"/>
              </a:solidFill>
              <a:prstDash val="solid"/>
            </a:ln>
            <a:effectLst/>
          </p:spPr>
          <p:txBody>
            <a:bodyPr wrap="none" lIns="0" tIns="91440" rIns="0" bIns="91440" anchor="ctr"/>
            <a:lstStyle/>
            <a:p>
              <a:pPr marL="0" marR="0" lvl="0" indent="0" algn="ctr" defTabSz="957756" rtl="0" eaLnBrk="1" fontAlgn="auto" latinLnBrk="0" hangingPunct="1">
                <a:lnSpc>
                  <a:spcPct val="100000"/>
                </a:lnSpc>
                <a:spcBef>
                  <a:spcPts val="0"/>
                </a:spcBef>
                <a:spcAft>
                  <a:spcPts val="600"/>
                </a:spcAft>
                <a:buClrTx/>
                <a:buSzTx/>
                <a:buFontTx/>
                <a:buNone/>
                <a:tabLst/>
                <a:defRPr/>
              </a:pPr>
              <a:endParaRPr kumimoji="0" lang="en-US" sz="300" b="1"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8" name="Freeform 173">
              <a:extLst>
                <a:ext uri="{FF2B5EF4-FFF2-40B4-BE49-F238E27FC236}">
                  <a16:creationId xmlns:a16="http://schemas.microsoft.com/office/drawing/2014/main" id="{5E6566FF-10CA-6934-47D8-391FBCD24F89}"/>
                </a:ext>
              </a:extLst>
            </p:cNvPr>
            <p:cNvSpPr/>
            <p:nvPr/>
          </p:nvSpPr>
          <p:spPr>
            <a:xfrm>
              <a:off x="10592918" y="964988"/>
              <a:ext cx="22083" cy="124752"/>
            </a:xfrm>
            <a:custGeom>
              <a:avLst/>
              <a:gdLst>
                <a:gd name="connsiteX0" fmla="*/ 0 w 1161980"/>
                <a:gd name="connsiteY0" fmla="*/ 702272 h 1404544"/>
                <a:gd name="connsiteX1" fmla="*/ 133336 w 1161980"/>
                <a:gd name="connsiteY1" fmla="*/ 254618 h 1404544"/>
                <a:gd name="connsiteX2" fmla="*/ 580991 w 1161980"/>
                <a:gd name="connsiteY2" fmla="*/ 1 h 1404544"/>
                <a:gd name="connsiteX3" fmla="*/ 1028645 w 1161980"/>
                <a:gd name="connsiteY3" fmla="*/ 254620 h 1404544"/>
                <a:gd name="connsiteX4" fmla="*/ 1161980 w 1161980"/>
                <a:gd name="connsiteY4" fmla="*/ 702274 h 1404544"/>
                <a:gd name="connsiteX5" fmla="*/ 1028644 w 1161980"/>
                <a:gd name="connsiteY5" fmla="*/ 1149928 h 1404544"/>
                <a:gd name="connsiteX6" fmla="*/ 580989 w 1161980"/>
                <a:gd name="connsiteY6" fmla="*/ 1404546 h 1404544"/>
                <a:gd name="connsiteX7" fmla="*/ 133335 w 1161980"/>
                <a:gd name="connsiteY7" fmla="*/ 1149928 h 1404544"/>
                <a:gd name="connsiteX8" fmla="*/ 0 w 1161980"/>
                <a:gd name="connsiteY8" fmla="*/ 702274 h 1404544"/>
                <a:gd name="connsiteX9" fmla="*/ 0 w 1161980"/>
                <a:gd name="connsiteY9" fmla="*/ 702272 h 1404544"/>
                <a:gd name="connsiteX0" fmla="*/ 1 w 1161981"/>
                <a:gd name="connsiteY0" fmla="*/ 702271 h 1427425"/>
                <a:gd name="connsiteX1" fmla="*/ 133337 w 1161981"/>
                <a:gd name="connsiteY1" fmla="*/ 254617 h 1427425"/>
                <a:gd name="connsiteX2" fmla="*/ 580992 w 1161981"/>
                <a:gd name="connsiteY2" fmla="*/ 0 h 1427425"/>
                <a:gd name="connsiteX3" fmla="*/ 1028646 w 1161981"/>
                <a:gd name="connsiteY3" fmla="*/ 254619 h 1427425"/>
                <a:gd name="connsiteX4" fmla="*/ 1161981 w 1161981"/>
                <a:gd name="connsiteY4" fmla="*/ 702273 h 1427425"/>
                <a:gd name="connsiteX5" fmla="*/ 1028645 w 1161981"/>
                <a:gd name="connsiteY5" fmla="*/ 1149927 h 1427425"/>
                <a:gd name="connsiteX6" fmla="*/ 915384 w 1161981"/>
                <a:gd name="connsiteY6" fmla="*/ 1287208 h 1427425"/>
                <a:gd name="connsiteX7" fmla="*/ 580990 w 1161981"/>
                <a:gd name="connsiteY7" fmla="*/ 1404545 h 1427425"/>
                <a:gd name="connsiteX8" fmla="*/ 133336 w 1161981"/>
                <a:gd name="connsiteY8" fmla="*/ 1149927 h 1427425"/>
                <a:gd name="connsiteX9" fmla="*/ 1 w 1161981"/>
                <a:gd name="connsiteY9" fmla="*/ 702273 h 1427425"/>
                <a:gd name="connsiteX10" fmla="*/ 1 w 1161981"/>
                <a:gd name="connsiteY10" fmla="*/ 702271 h 1427425"/>
                <a:gd name="connsiteX0" fmla="*/ 915384 w 1161981"/>
                <a:gd name="connsiteY0" fmla="*/ 1287208 h 1427425"/>
                <a:gd name="connsiteX1" fmla="*/ 580990 w 1161981"/>
                <a:gd name="connsiteY1" fmla="*/ 1404545 h 1427425"/>
                <a:gd name="connsiteX2" fmla="*/ 133336 w 1161981"/>
                <a:gd name="connsiteY2" fmla="*/ 1149927 h 1427425"/>
                <a:gd name="connsiteX3" fmla="*/ 1 w 1161981"/>
                <a:gd name="connsiteY3" fmla="*/ 702273 h 1427425"/>
                <a:gd name="connsiteX4" fmla="*/ 1 w 1161981"/>
                <a:gd name="connsiteY4" fmla="*/ 702271 h 1427425"/>
                <a:gd name="connsiteX5" fmla="*/ 133337 w 1161981"/>
                <a:gd name="connsiteY5" fmla="*/ 254617 h 1427425"/>
                <a:gd name="connsiteX6" fmla="*/ 580992 w 1161981"/>
                <a:gd name="connsiteY6" fmla="*/ 0 h 1427425"/>
                <a:gd name="connsiteX7" fmla="*/ 1028646 w 1161981"/>
                <a:gd name="connsiteY7" fmla="*/ 254619 h 1427425"/>
                <a:gd name="connsiteX8" fmla="*/ 1161981 w 1161981"/>
                <a:gd name="connsiteY8" fmla="*/ 702273 h 1427425"/>
                <a:gd name="connsiteX9" fmla="*/ 1028645 w 1161981"/>
                <a:gd name="connsiteY9" fmla="*/ 1149927 h 1427425"/>
                <a:gd name="connsiteX10" fmla="*/ 1006824 w 1161981"/>
                <a:gd name="connsiteY10" fmla="*/ 1378648 h 1427425"/>
                <a:gd name="connsiteX0" fmla="*/ 915384 w 1161981"/>
                <a:gd name="connsiteY0" fmla="*/ 1287208 h 1427425"/>
                <a:gd name="connsiteX1" fmla="*/ 580990 w 1161981"/>
                <a:gd name="connsiteY1" fmla="*/ 1404545 h 1427425"/>
                <a:gd name="connsiteX2" fmla="*/ 133336 w 1161981"/>
                <a:gd name="connsiteY2" fmla="*/ 1149927 h 1427425"/>
                <a:gd name="connsiteX3" fmla="*/ 1 w 1161981"/>
                <a:gd name="connsiteY3" fmla="*/ 702273 h 1427425"/>
                <a:gd name="connsiteX4" fmla="*/ 1 w 1161981"/>
                <a:gd name="connsiteY4" fmla="*/ 702271 h 1427425"/>
                <a:gd name="connsiteX5" fmla="*/ 133337 w 1161981"/>
                <a:gd name="connsiteY5" fmla="*/ 254617 h 1427425"/>
                <a:gd name="connsiteX6" fmla="*/ 580992 w 1161981"/>
                <a:gd name="connsiteY6" fmla="*/ 0 h 1427425"/>
                <a:gd name="connsiteX7" fmla="*/ 1028646 w 1161981"/>
                <a:gd name="connsiteY7" fmla="*/ 254619 h 1427425"/>
                <a:gd name="connsiteX8" fmla="*/ 1161981 w 1161981"/>
                <a:gd name="connsiteY8" fmla="*/ 702273 h 1427425"/>
                <a:gd name="connsiteX9" fmla="*/ 1028645 w 1161981"/>
                <a:gd name="connsiteY9" fmla="*/ 1149927 h 1427425"/>
                <a:gd name="connsiteX0" fmla="*/ 915384 w 1161981"/>
                <a:gd name="connsiteY0" fmla="*/ 1287208 h 1427425"/>
                <a:gd name="connsiteX1" fmla="*/ 580990 w 1161981"/>
                <a:gd name="connsiteY1" fmla="*/ 1404545 h 1427425"/>
                <a:gd name="connsiteX2" fmla="*/ 133336 w 1161981"/>
                <a:gd name="connsiteY2" fmla="*/ 1149927 h 1427425"/>
                <a:gd name="connsiteX3" fmla="*/ 1 w 1161981"/>
                <a:gd name="connsiteY3" fmla="*/ 702273 h 1427425"/>
                <a:gd name="connsiteX4" fmla="*/ 1 w 1161981"/>
                <a:gd name="connsiteY4" fmla="*/ 702271 h 1427425"/>
                <a:gd name="connsiteX5" fmla="*/ 133337 w 1161981"/>
                <a:gd name="connsiteY5" fmla="*/ 254617 h 1427425"/>
                <a:gd name="connsiteX6" fmla="*/ 580992 w 1161981"/>
                <a:gd name="connsiteY6" fmla="*/ 0 h 1427425"/>
                <a:gd name="connsiteX7" fmla="*/ 1028646 w 1161981"/>
                <a:gd name="connsiteY7" fmla="*/ 254619 h 1427425"/>
                <a:gd name="connsiteX8" fmla="*/ 1161981 w 1161981"/>
                <a:gd name="connsiteY8" fmla="*/ 702273 h 1427425"/>
                <a:gd name="connsiteX9" fmla="*/ 1028645 w 1161981"/>
                <a:gd name="connsiteY9" fmla="*/ 1149927 h 1427425"/>
                <a:gd name="connsiteX0" fmla="*/ 915384 w 1161981"/>
                <a:gd name="connsiteY0" fmla="*/ 1287208 h 1427425"/>
                <a:gd name="connsiteX1" fmla="*/ 580990 w 1161981"/>
                <a:gd name="connsiteY1" fmla="*/ 1404545 h 1427425"/>
                <a:gd name="connsiteX2" fmla="*/ 133336 w 1161981"/>
                <a:gd name="connsiteY2" fmla="*/ 1149927 h 1427425"/>
                <a:gd name="connsiteX3" fmla="*/ 1 w 1161981"/>
                <a:gd name="connsiteY3" fmla="*/ 702273 h 1427425"/>
                <a:gd name="connsiteX4" fmla="*/ 1 w 1161981"/>
                <a:gd name="connsiteY4" fmla="*/ 702271 h 1427425"/>
                <a:gd name="connsiteX5" fmla="*/ 133337 w 1161981"/>
                <a:gd name="connsiteY5" fmla="*/ 254617 h 1427425"/>
                <a:gd name="connsiteX6" fmla="*/ 580992 w 1161981"/>
                <a:gd name="connsiteY6" fmla="*/ 0 h 1427425"/>
                <a:gd name="connsiteX7" fmla="*/ 1028646 w 1161981"/>
                <a:gd name="connsiteY7" fmla="*/ 254619 h 1427425"/>
                <a:gd name="connsiteX8" fmla="*/ 1161981 w 1161981"/>
                <a:gd name="connsiteY8" fmla="*/ 702273 h 1427425"/>
                <a:gd name="connsiteX9" fmla="*/ 1028645 w 1161981"/>
                <a:gd name="connsiteY9" fmla="*/ 1149927 h 1427425"/>
                <a:gd name="connsiteX0" fmla="*/ 915384 w 1161981"/>
                <a:gd name="connsiteY0" fmla="*/ 1287208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9" fmla="*/ 1028645 w 1161981"/>
                <a:gd name="connsiteY9" fmla="*/ 1149927 h 1405200"/>
                <a:gd name="connsiteX0" fmla="*/ 909034 w 1161981"/>
                <a:gd name="connsiteY0" fmla="*/ 1284033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9" fmla="*/ 1028645 w 1161981"/>
                <a:gd name="connsiteY9" fmla="*/ 1149927 h 1405200"/>
                <a:gd name="connsiteX0" fmla="*/ 909034 w 1161981"/>
                <a:gd name="connsiteY0" fmla="*/ 1284033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9" fmla="*/ 1028645 w 1161981"/>
                <a:gd name="connsiteY9" fmla="*/ 1149927 h 1405200"/>
                <a:gd name="connsiteX0" fmla="*/ 909034 w 1161981"/>
                <a:gd name="connsiteY0" fmla="*/ 1284033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9" fmla="*/ 1028645 w 1161981"/>
                <a:gd name="connsiteY9" fmla="*/ 1149927 h 1405200"/>
                <a:gd name="connsiteX0" fmla="*/ 909034 w 1161981"/>
                <a:gd name="connsiteY0" fmla="*/ 1284033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0" fmla="*/ 580990 w 1161981"/>
                <a:gd name="connsiteY0" fmla="*/ 1404545 h 1404545"/>
                <a:gd name="connsiteX1" fmla="*/ 133336 w 1161981"/>
                <a:gd name="connsiteY1" fmla="*/ 1149927 h 1404545"/>
                <a:gd name="connsiteX2" fmla="*/ 1 w 1161981"/>
                <a:gd name="connsiteY2" fmla="*/ 702273 h 1404545"/>
                <a:gd name="connsiteX3" fmla="*/ 1 w 1161981"/>
                <a:gd name="connsiteY3" fmla="*/ 702271 h 1404545"/>
                <a:gd name="connsiteX4" fmla="*/ 133337 w 1161981"/>
                <a:gd name="connsiteY4" fmla="*/ 254617 h 1404545"/>
                <a:gd name="connsiteX5" fmla="*/ 580992 w 1161981"/>
                <a:gd name="connsiteY5" fmla="*/ 0 h 1404545"/>
                <a:gd name="connsiteX6" fmla="*/ 1028646 w 1161981"/>
                <a:gd name="connsiteY6" fmla="*/ 254619 h 1404545"/>
                <a:gd name="connsiteX7" fmla="*/ 1161981 w 1161981"/>
                <a:gd name="connsiteY7" fmla="*/ 702273 h 1404545"/>
                <a:gd name="connsiteX0" fmla="*/ 580990 w 1028646"/>
                <a:gd name="connsiteY0" fmla="*/ 1404545 h 1404545"/>
                <a:gd name="connsiteX1" fmla="*/ 133336 w 1028646"/>
                <a:gd name="connsiteY1" fmla="*/ 1149927 h 1404545"/>
                <a:gd name="connsiteX2" fmla="*/ 1 w 1028646"/>
                <a:gd name="connsiteY2" fmla="*/ 702273 h 1404545"/>
                <a:gd name="connsiteX3" fmla="*/ 1 w 1028646"/>
                <a:gd name="connsiteY3" fmla="*/ 702271 h 1404545"/>
                <a:gd name="connsiteX4" fmla="*/ 133337 w 1028646"/>
                <a:gd name="connsiteY4" fmla="*/ 254617 h 1404545"/>
                <a:gd name="connsiteX5" fmla="*/ 580992 w 1028646"/>
                <a:gd name="connsiteY5" fmla="*/ 0 h 1404545"/>
                <a:gd name="connsiteX6" fmla="*/ 1028646 w 1028646"/>
                <a:gd name="connsiteY6" fmla="*/ 254619 h 1404545"/>
                <a:gd name="connsiteX0" fmla="*/ 580990 w 580992"/>
                <a:gd name="connsiteY0" fmla="*/ 1404545 h 1404545"/>
                <a:gd name="connsiteX1" fmla="*/ 133336 w 580992"/>
                <a:gd name="connsiteY1" fmla="*/ 1149927 h 1404545"/>
                <a:gd name="connsiteX2" fmla="*/ 1 w 580992"/>
                <a:gd name="connsiteY2" fmla="*/ 702273 h 1404545"/>
                <a:gd name="connsiteX3" fmla="*/ 1 w 580992"/>
                <a:gd name="connsiteY3" fmla="*/ 702271 h 1404545"/>
                <a:gd name="connsiteX4" fmla="*/ 133337 w 580992"/>
                <a:gd name="connsiteY4" fmla="*/ 254617 h 1404545"/>
                <a:gd name="connsiteX5" fmla="*/ 580992 w 580992"/>
                <a:gd name="connsiteY5" fmla="*/ 0 h 1404545"/>
                <a:gd name="connsiteX0" fmla="*/ 580990 w 580990"/>
                <a:gd name="connsiteY0" fmla="*/ 1149928 h 1149928"/>
                <a:gd name="connsiteX1" fmla="*/ 133336 w 580990"/>
                <a:gd name="connsiteY1" fmla="*/ 895310 h 1149928"/>
                <a:gd name="connsiteX2" fmla="*/ 1 w 580990"/>
                <a:gd name="connsiteY2" fmla="*/ 447656 h 1149928"/>
                <a:gd name="connsiteX3" fmla="*/ 1 w 580990"/>
                <a:gd name="connsiteY3" fmla="*/ 447654 h 1149928"/>
                <a:gd name="connsiteX4" fmla="*/ 133337 w 580990"/>
                <a:gd name="connsiteY4" fmla="*/ 0 h 1149928"/>
                <a:gd name="connsiteX0" fmla="*/ 133336 w 133337"/>
                <a:gd name="connsiteY0" fmla="*/ 895310 h 895310"/>
                <a:gd name="connsiteX1" fmla="*/ 1 w 133337"/>
                <a:gd name="connsiteY1" fmla="*/ 447656 h 895310"/>
                <a:gd name="connsiteX2" fmla="*/ 1 w 133337"/>
                <a:gd name="connsiteY2" fmla="*/ 447654 h 895310"/>
                <a:gd name="connsiteX3" fmla="*/ 133337 w 133337"/>
                <a:gd name="connsiteY3" fmla="*/ 0 h 895310"/>
                <a:gd name="connsiteX0" fmla="*/ 141304 w 141305"/>
                <a:gd name="connsiteY0" fmla="*/ 895310 h 895310"/>
                <a:gd name="connsiteX1" fmla="*/ 7969 w 141305"/>
                <a:gd name="connsiteY1" fmla="*/ 447656 h 895310"/>
                <a:gd name="connsiteX2" fmla="*/ 7969 w 141305"/>
                <a:gd name="connsiteY2" fmla="*/ 447654 h 895310"/>
                <a:gd name="connsiteX3" fmla="*/ 22223 w 141305"/>
                <a:gd name="connsiteY3" fmla="*/ 332227 h 895310"/>
                <a:gd name="connsiteX4" fmla="*/ 141305 w 141305"/>
                <a:gd name="connsiteY4" fmla="*/ 0 h 895310"/>
                <a:gd name="connsiteX0" fmla="*/ 141304 w 141305"/>
                <a:gd name="connsiteY0" fmla="*/ 895310 h 895310"/>
                <a:gd name="connsiteX1" fmla="*/ 22223 w 141305"/>
                <a:gd name="connsiteY1" fmla="*/ 573527 h 895310"/>
                <a:gd name="connsiteX2" fmla="*/ 7969 w 141305"/>
                <a:gd name="connsiteY2" fmla="*/ 447656 h 895310"/>
                <a:gd name="connsiteX3" fmla="*/ 7969 w 141305"/>
                <a:gd name="connsiteY3" fmla="*/ 447654 h 895310"/>
                <a:gd name="connsiteX4" fmla="*/ 22223 w 141305"/>
                <a:gd name="connsiteY4" fmla="*/ 332227 h 895310"/>
                <a:gd name="connsiteX5" fmla="*/ 141305 w 141305"/>
                <a:gd name="connsiteY5" fmla="*/ 0 h 895310"/>
                <a:gd name="connsiteX0" fmla="*/ 141304 w 141305"/>
                <a:gd name="connsiteY0" fmla="*/ 895310 h 895310"/>
                <a:gd name="connsiteX1" fmla="*/ 22223 w 141305"/>
                <a:gd name="connsiteY1" fmla="*/ 573527 h 895310"/>
                <a:gd name="connsiteX2" fmla="*/ 7969 w 141305"/>
                <a:gd name="connsiteY2" fmla="*/ 447656 h 895310"/>
                <a:gd name="connsiteX3" fmla="*/ 7969 w 141305"/>
                <a:gd name="connsiteY3" fmla="*/ 447654 h 895310"/>
                <a:gd name="connsiteX4" fmla="*/ 22223 w 141305"/>
                <a:gd name="connsiteY4" fmla="*/ 313177 h 895310"/>
                <a:gd name="connsiteX5" fmla="*/ 141305 w 141305"/>
                <a:gd name="connsiteY5" fmla="*/ 0 h 895310"/>
                <a:gd name="connsiteX0" fmla="*/ 141304 w 141305"/>
                <a:gd name="connsiteY0" fmla="*/ 895310 h 895310"/>
                <a:gd name="connsiteX1" fmla="*/ 22223 w 141305"/>
                <a:gd name="connsiteY1" fmla="*/ 573527 h 895310"/>
                <a:gd name="connsiteX2" fmla="*/ 7969 w 141305"/>
                <a:gd name="connsiteY2" fmla="*/ 447656 h 895310"/>
                <a:gd name="connsiteX3" fmla="*/ 7969 w 141305"/>
                <a:gd name="connsiteY3" fmla="*/ 447654 h 895310"/>
                <a:gd name="connsiteX4" fmla="*/ 22223 w 141305"/>
                <a:gd name="connsiteY4" fmla="*/ 313177 h 895310"/>
                <a:gd name="connsiteX5" fmla="*/ 141305 w 141305"/>
                <a:gd name="connsiteY5" fmla="*/ 0 h 895310"/>
                <a:gd name="connsiteX0" fmla="*/ 141304 w 141305"/>
                <a:gd name="connsiteY0" fmla="*/ 895310 h 895310"/>
                <a:gd name="connsiteX1" fmla="*/ 22223 w 141305"/>
                <a:gd name="connsiteY1" fmla="*/ 573527 h 895310"/>
                <a:gd name="connsiteX2" fmla="*/ 7969 w 141305"/>
                <a:gd name="connsiteY2" fmla="*/ 447656 h 895310"/>
                <a:gd name="connsiteX3" fmla="*/ 7969 w 141305"/>
                <a:gd name="connsiteY3" fmla="*/ 447654 h 895310"/>
                <a:gd name="connsiteX4" fmla="*/ 22223 w 141305"/>
                <a:gd name="connsiteY4" fmla="*/ 313177 h 895310"/>
                <a:gd name="connsiteX5" fmla="*/ 141305 w 141305"/>
                <a:gd name="connsiteY5" fmla="*/ 0 h 895310"/>
                <a:gd name="connsiteX0" fmla="*/ 141304 w 141305"/>
                <a:gd name="connsiteY0" fmla="*/ 895310 h 895310"/>
                <a:gd name="connsiteX1" fmla="*/ 22223 w 141305"/>
                <a:gd name="connsiteY1" fmla="*/ 573527 h 895310"/>
                <a:gd name="connsiteX2" fmla="*/ 7969 w 141305"/>
                <a:gd name="connsiteY2" fmla="*/ 447656 h 895310"/>
                <a:gd name="connsiteX3" fmla="*/ 7969 w 141305"/>
                <a:gd name="connsiteY3" fmla="*/ 447654 h 895310"/>
                <a:gd name="connsiteX4" fmla="*/ 22223 w 141305"/>
                <a:gd name="connsiteY4" fmla="*/ 313177 h 895310"/>
                <a:gd name="connsiteX5" fmla="*/ 141305 w 141305"/>
                <a:gd name="connsiteY5" fmla="*/ 0 h 895310"/>
                <a:gd name="connsiteX0" fmla="*/ 143685 w 143686"/>
                <a:gd name="connsiteY0" fmla="*/ 895310 h 895310"/>
                <a:gd name="connsiteX1" fmla="*/ 24604 w 143686"/>
                <a:gd name="connsiteY1" fmla="*/ 573527 h 895310"/>
                <a:gd name="connsiteX2" fmla="*/ 10350 w 143686"/>
                <a:gd name="connsiteY2" fmla="*/ 447656 h 895310"/>
                <a:gd name="connsiteX3" fmla="*/ 10350 w 143686"/>
                <a:gd name="connsiteY3" fmla="*/ 447654 h 895310"/>
                <a:gd name="connsiteX4" fmla="*/ 22223 w 143686"/>
                <a:gd name="connsiteY4" fmla="*/ 317939 h 895310"/>
                <a:gd name="connsiteX5" fmla="*/ 143686 w 143686"/>
                <a:gd name="connsiteY5" fmla="*/ 0 h 895310"/>
                <a:gd name="connsiteX0" fmla="*/ 143685 w 143686"/>
                <a:gd name="connsiteY0" fmla="*/ 895310 h 895310"/>
                <a:gd name="connsiteX1" fmla="*/ 24604 w 143686"/>
                <a:gd name="connsiteY1" fmla="*/ 573527 h 895310"/>
                <a:gd name="connsiteX2" fmla="*/ 10350 w 143686"/>
                <a:gd name="connsiteY2" fmla="*/ 447656 h 895310"/>
                <a:gd name="connsiteX3" fmla="*/ 10350 w 143686"/>
                <a:gd name="connsiteY3" fmla="*/ 447654 h 895310"/>
                <a:gd name="connsiteX4" fmla="*/ 22223 w 143686"/>
                <a:gd name="connsiteY4" fmla="*/ 317939 h 895310"/>
                <a:gd name="connsiteX5" fmla="*/ 143686 w 143686"/>
                <a:gd name="connsiteY5" fmla="*/ 0 h 895310"/>
                <a:gd name="connsiteX0" fmla="*/ 143685 w 143686"/>
                <a:gd name="connsiteY0" fmla="*/ 895310 h 895310"/>
                <a:gd name="connsiteX1" fmla="*/ 24604 w 143686"/>
                <a:gd name="connsiteY1" fmla="*/ 573527 h 895310"/>
                <a:gd name="connsiteX2" fmla="*/ 10350 w 143686"/>
                <a:gd name="connsiteY2" fmla="*/ 447656 h 895310"/>
                <a:gd name="connsiteX3" fmla="*/ 10350 w 143686"/>
                <a:gd name="connsiteY3" fmla="*/ 447654 h 895310"/>
                <a:gd name="connsiteX4" fmla="*/ 22223 w 143686"/>
                <a:gd name="connsiteY4" fmla="*/ 317939 h 895310"/>
                <a:gd name="connsiteX5" fmla="*/ 143686 w 143686"/>
                <a:gd name="connsiteY5" fmla="*/ 0 h 895310"/>
                <a:gd name="connsiteX0" fmla="*/ 143685 w 143686"/>
                <a:gd name="connsiteY0" fmla="*/ 895310 h 895310"/>
                <a:gd name="connsiteX1" fmla="*/ 24604 w 143686"/>
                <a:gd name="connsiteY1" fmla="*/ 571146 h 895310"/>
                <a:gd name="connsiteX2" fmla="*/ 10350 w 143686"/>
                <a:gd name="connsiteY2" fmla="*/ 447656 h 895310"/>
                <a:gd name="connsiteX3" fmla="*/ 10350 w 143686"/>
                <a:gd name="connsiteY3" fmla="*/ 447654 h 895310"/>
                <a:gd name="connsiteX4" fmla="*/ 22223 w 143686"/>
                <a:gd name="connsiteY4" fmla="*/ 317939 h 895310"/>
                <a:gd name="connsiteX5" fmla="*/ 143686 w 143686"/>
                <a:gd name="connsiteY5" fmla="*/ 0 h 895310"/>
                <a:gd name="connsiteX0" fmla="*/ 146066 w 146067"/>
                <a:gd name="connsiteY0" fmla="*/ 895310 h 895310"/>
                <a:gd name="connsiteX1" fmla="*/ 22222 w 146067"/>
                <a:gd name="connsiteY1" fmla="*/ 573527 h 895310"/>
                <a:gd name="connsiteX2" fmla="*/ 12731 w 146067"/>
                <a:gd name="connsiteY2" fmla="*/ 447656 h 895310"/>
                <a:gd name="connsiteX3" fmla="*/ 12731 w 146067"/>
                <a:gd name="connsiteY3" fmla="*/ 447654 h 895310"/>
                <a:gd name="connsiteX4" fmla="*/ 24604 w 146067"/>
                <a:gd name="connsiteY4" fmla="*/ 317939 h 895310"/>
                <a:gd name="connsiteX5" fmla="*/ 146067 w 146067"/>
                <a:gd name="connsiteY5" fmla="*/ 0 h 895310"/>
                <a:gd name="connsiteX0" fmla="*/ 143685 w 143686"/>
                <a:gd name="connsiteY0" fmla="*/ 895310 h 895310"/>
                <a:gd name="connsiteX1" fmla="*/ 19841 w 143686"/>
                <a:gd name="connsiteY1" fmla="*/ 573527 h 895310"/>
                <a:gd name="connsiteX2" fmla="*/ 10350 w 143686"/>
                <a:gd name="connsiteY2" fmla="*/ 447656 h 895310"/>
                <a:gd name="connsiteX3" fmla="*/ 10350 w 143686"/>
                <a:gd name="connsiteY3" fmla="*/ 447654 h 895310"/>
                <a:gd name="connsiteX4" fmla="*/ 22223 w 143686"/>
                <a:gd name="connsiteY4" fmla="*/ 317939 h 895310"/>
                <a:gd name="connsiteX5" fmla="*/ 143686 w 143686"/>
                <a:gd name="connsiteY5" fmla="*/ 0 h 895310"/>
                <a:gd name="connsiteX0" fmla="*/ 143685 w 143686"/>
                <a:gd name="connsiteY0" fmla="*/ 895310 h 895310"/>
                <a:gd name="connsiteX1" fmla="*/ 19841 w 143686"/>
                <a:gd name="connsiteY1" fmla="*/ 573527 h 895310"/>
                <a:gd name="connsiteX2" fmla="*/ 10350 w 143686"/>
                <a:gd name="connsiteY2" fmla="*/ 447656 h 895310"/>
                <a:gd name="connsiteX3" fmla="*/ 10350 w 143686"/>
                <a:gd name="connsiteY3" fmla="*/ 447654 h 895310"/>
                <a:gd name="connsiteX4" fmla="*/ 22223 w 143686"/>
                <a:gd name="connsiteY4" fmla="*/ 317939 h 895310"/>
                <a:gd name="connsiteX5" fmla="*/ 143686 w 143686"/>
                <a:gd name="connsiteY5" fmla="*/ 0 h 895310"/>
                <a:gd name="connsiteX0" fmla="*/ 143685 w 143686"/>
                <a:gd name="connsiteY0" fmla="*/ 895310 h 895310"/>
                <a:gd name="connsiteX1" fmla="*/ 19841 w 143686"/>
                <a:gd name="connsiteY1" fmla="*/ 573527 h 895310"/>
                <a:gd name="connsiteX2" fmla="*/ 10350 w 143686"/>
                <a:gd name="connsiteY2" fmla="*/ 447656 h 895310"/>
                <a:gd name="connsiteX3" fmla="*/ 10350 w 143686"/>
                <a:gd name="connsiteY3" fmla="*/ 447654 h 895310"/>
                <a:gd name="connsiteX4" fmla="*/ 22223 w 143686"/>
                <a:gd name="connsiteY4" fmla="*/ 317939 h 895310"/>
                <a:gd name="connsiteX5" fmla="*/ 143686 w 143686"/>
                <a:gd name="connsiteY5" fmla="*/ 0 h 895310"/>
                <a:gd name="connsiteX0" fmla="*/ 148447 w 148448"/>
                <a:gd name="connsiteY0" fmla="*/ 895310 h 895310"/>
                <a:gd name="connsiteX1" fmla="*/ 24603 w 148448"/>
                <a:gd name="connsiteY1" fmla="*/ 573527 h 895310"/>
                <a:gd name="connsiteX2" fmla="*/ 15112 w 148448"/>
                <a:gd name="connsiteY2" fmla="*/ 447656 h 895310"/>
                <a:gd name="connsiteX3" fmla="*/ 15112 w 148448"/>
                <a:gd name="connsiteY3" fmla="*/ 447654 h 895310"/>
                <a:gd name="connsiteX4" fmla="*/ 22223 w 148448"/>
                <a:gd name="connsiteY4" fmla="*/ 327464 h 895310"/>
                <a:gd name="connsiteX5" fmla="*/ 148448 w 148448"/>
                <a:gd name="connsiteY5" fmla="*/ 0 h 895310"/>
                <a:gd name="connsiteX0" fmla="*/ 138922 w 138923"/>
                <a:gd name="connsiteY0" fmla="*/ 895310 h 895310"/>
                <a:gd name="connsiteX1" fmla="*/ 15078 w 138923"/>
                <a:gd name="connsiteY1" fmla="*/ 573527 h 895310"/>
                <a:gd name="connsiteX2" fmla="*/ 5587 w 138923"/>
                <a:gd name="connsiteY2" fmla="*/ 447656 h 895310"/>
                <a:gd name="connsiteX3" fmla="*/ 5587 w 138923"/>
                <a:gd name="connsiteY3" fmla="*/ 447654 h 895310"/>
                <a:gd name="connsiteX4" fmla="*/ 12698 w 138923"/>
                <a:gd name="connsiteY4" fmla="*/ 327464 h 895310"/>
                <a:gd name="connsiteX5" fmla="*/ 138923 w 138923"/>
                <a:gd name="connsiteY5" fmla="*/ 0 h 895310"/>
                <a:gd name="connsiteX0" fmla="*/ 133335 w 133336"/>
                <a:gd name="connsiteY0" fmla="*/ 895310 h 895310"/>
                <a:gd name="connsiteX1" fmla="*/ 9491 w 133336"/>
                <a:gd name="connsiteY1" fmla="*/ 573527 h 895310"/>
                <a:gd name="connsiteX2" fmla="*/ 0 w 133336"/>
                <a:gd name="connsiteY2" fmla="*/ 447656 h 895310"/>
                <a:gd name="connsiteX3" fmla="*/ 0 w 133336"/>
                <a:gd name="connsiteY3" fmla="*/ 447654 h 895310"/>
                <a:gd name="connsiteX4" fmla="*/ 7111 w 133336"/>
                <a:gd name="connsiteY4" fmla="*/ 327464 h 895310"/>
                <a:gd name="connsiteX5" fmla="*/ 133336 w 133336"/>
                <a:gd name="connsiteY5" fmla="*/ 0 h 895310"/>
                <a:gd name="connsiteX0" fmla="*/ 134160 w 134161"/>
                <a:gd name="connsiteY0" fmla="*/ 895310 h 895310"/>
                <a:gd name="connsiteX1" fmla="*/ 10316 w 134161"/>
                <a:gd name="connsiteY1" fmla="*/ 573527 h 895310"/>
                <a:gd name="connsiteX2" fmla="*/ 825 w 134161"/>
                <a:gd name="connsiteY2" fmla="*/ 447656 h 895310"/>
                <a:gd name="connsiteX3" fmla="*/ 825 w 134161"/>
                <a:gd name="connsiteY3" fmla="*/ 447654 h 895310"/>
                <a:gd name="connsiteX4" fmla="*/ 7936 w 134161"/>
                <a:gd name="connsiteY4" fmla="*/ 327464 h 895310"/>
                <a:gd name="connsiteX5" fmla="*/ 134161 w 134161"/>
                <a:gd name="connsiteY5" fmla="*/ 0 h 895310"/>
                <a:gd name="connsiteX0" fmla="*/ 134160 w 134161"/>
                <a:gd name="connsiteY0" fmla="*/ 895310 h 895310"/>
                <a:gd name="connsiteX1" fmla="*/ 10316 w 134161"/>
                <a:gd name="connsiteY1" fmla="*/ 573527 h 895310"/>
                <a:gd name="connsiteX2" fmla="*/ 825 w 134161"/>
                <a:gd name="connsiteY2" fmla="*/ 447656 h 895310"/>
                <a:gd name="connsiteX3" fmla="*/ 825 w 134161"/>
                <a:gd name="connsiteY3" fmla="*/ 447654 h 895310"/>
                <a:gd name="connsiteX4" fmla="*/ 7936 w 134161"/>
                <a:gd name="connsiteY4" fmla="*/ 327464 h 895310"/>
                <a:gd name="connsiteX5" fmla="*/ 134161 w 134161"/>
                <a:gd name="connsiteY5" fmla="*/ 0 h 895310"/>
                <a:gd name="connsiteX0" fmla="*/ 134160 w 134160"/>
                <a:gd name="connsiteY0" fmla="*/ 567846 h 567846"/>
                <a:gd name="connsiteX1" fmla="*/ 10316 w 134160"/>
                <a:gd name="connsiteY1" fmla="*/ 246063 h 567846"/>
                <a:gd name="connsiteX2" fmla="*/ 825 w 134160"/>
                <a:gd name="connsiteY2" fmla="*/ 120192 h 567846"/>
                <a:gd name="connsiteX3" fmla="*/ 825 w 134160"/>
                <a:gd name="connsiteY3" fmla="*/ 120190 h 567846"/>
                <a:gd name="connsiteX4" fmla="*/ 7936 w 134160"/>
                <a:gd name="connsiteY4" fmla="*/ 0 h 567846"/>
                <a:gd name="connsiteX0" fmla="*/ 134160 w 152401"/>
                <a:gd name="connsiteY0" fmla="*/ 567846 h 619574"/>
                <a:gd name="connsiteX1" fmla="*/ 131760 w 152401"/>
                <a:gd name="connsiteY1" fmla="*/ 565944 h 619574"/>
                <a:gd name="connsiteX2" fmla="*/ 10316 w 152401"/>
                <a:gd name="connsiteY2" fmla="*/ 246063 h 619574"/>
                <a:gd name="connsiteX3" fmla="*/ 825 w 152401"/>
                <a:gd name="connsiteY3" fmla="*/ 120192 h 619574"/>
                <a:gd name="connsiteX4" fmla="*/ 825 w 152401"/>
                <a:gd name="connsiteY4" fmla="*/ 120190 h 619574"/>
                <a:gd name="connsiteX5" fmla="*/ 7936 w 152401"/>
                <a:gd name="connsiteY5" fmla="*/ 0 h 619574"/>
                <a:gd name="connsiteX0" fmla="*/ 134160 w 134160"/>
                <a:gd name="connsiteY0" fmla="*/ 567846 h 567846"/>
                <a:gd name="connsiteX1" fmla="*/ 10316 w 134160"/>
                <a:gd name="connsiteY1" fmla="*/ 246063 h 567846"/>
                <a:gd name="connsiteX2" fmla="*/ 825 w 134160"/>
                <a:gd name="connsiteY2" fmla="*/ 120192 h 567846"/>
                <a:gd name="connsiteX3" fmla="*/ 825 w 134160"/>
                <a:gd name="connsiteY3" fmla="*/ 120190 h 567846"/>
                <a:gd name="connsiteX4" fmla="*/ 7936 w 134160"/>
                <a:gd name="connsiteY4" fmla="*/ 0 h 567846"/>
                <a:gd name="connsiteX0" fmla="*/ 10316 w 10316"/>
                <a:gd name="connsiteY0" fmla="*/ 246063 h 246063"/>
                <a:gd name="connsiteX1" fmla="*/ 825 w 10316"/>
                <a:gd name="connsiteY1" fmla="*/ 120192 h 246063"/>
                <a:gd name="connsiteX2" fmla="*/ 825 w 10316"/>
                <a:gd name="connsiteY2" fmla="*/ 120190 h 246063"/>
                <a:gd name="connsiteX3" fmla="*/ 7936 w 10316"/>
                <a:gd name="connsiteY3" fmla="*/ 0 h 246063"/>
                <a:gd name="connsiteX0" fmla="*/ 10316 w 10316"/>
                <a:gd name="connsiteY0" fmla="*/ 246063 h 246063"/>
                <a:gd name="connsiteX1" fmla="*/ 825 w 10316"/>
                <a:gd name="connsiteY1" fmla="*/ 120192 h 246063"/>
                <a:gd name="connsiteX2" fmla="*/ 825 w 10316"/>
                <a:gd name="connsiteY2" fmla="*/ 120190 h 246063"/>
                <a:gd name="connsiteX3" fmla="*/ 7936 w 10316"/>
                <a:gd name="connsiteY3" fmla="*/ 0 h 246063"/>
                <a:gd name="connsiteX0" fmla="*/ 10316 w 10316"/>
                <a:gd name="connsiteY0" fmla="*/ 246063 h 246063"/>
                <a:gd name="connsiteX1" fmla="*/ 825 w 10316"/>
                <a:gd name="connsiteY1" fmla="*/ 120192 h 246063"/>
                <a:gd name="connsiteX2" fmla="*/ 825 w 10316"/>
                <a:gd name="connsiteY2" fmla="*/ 120190 h 246063"/>
                <a:gd name="connsiteX3" fmla="*/ 7936 w 10316"/>
                <a:gd name="connsiteY3" fmla="*/ 0 h 246063"/>
                <a:gd name="connsiteX0" fmla="*/ 19841 w 19841"/>
                <a:gd name="connsiteY0" fmla="*/ 286544 h 286544"/>
                <a:gd name="connsiteX1" fmla="*/ 825 w 19841"/>
                <a:gd name="connsiteY1" fmla="*/ 120192 h 286544"/>
                <a:gd name="connsiteX2" fmla="*/ 825 w 19841"/>
                <a:gd name="connsiteY2" fmla="*/ 120190 h 286544"/>
                <a:gd name="connsiteX3" fmla="*/ 7936 w 19841"/>
                <a:gd name="connsiteY3" fmla="*/ 0 h 286544"/>
                <a:gd name="connsiteX0" fmla="*/ 19016 w 19016"/>
                <a:gd name="connsiteY0" fmla="*/ 286544 h 286544"/>
                <a:gd name="connsiteX1" fmla="*/ 0 w 19016"/>
                <a:gd name="connsiteY1" fmla="*/ 120192 h 286544"/>
                <a:gd name="connsiteX2" fmla="*/ 7111 w 19016"/>
                <a:gd name="connsiteY2" fmla="*/ 0 h 286544"/>
                <a:gd name="connsiteX0" fmla="*/ 11905 w 11905"/>
                <a:gd name="connsiteY0" fmla="*/ 286544 h 286544"/>
                <a:gd name="connsiteX1" fmla="*/ 0 w 11905"/>
                <a:gd name="connsiteY1" fmla="*/ 0 h 286544"/>
                <a:gd name="connsiteX0" fmla="*/ 9523 w 9523"/>
                <a:gd name="connsiteY0" fmla="*/ 303213 h 303213"/>
                <a:gd name="connsiteX1" fmla="*/ 0 w 9523"/>
                <a:gd name="connsiteY1" fmla="*/ 0 h 303213"/>
                <a:gd name="connsiteX0" fmla="*/ 0 w 2"/>
                <a:gd name="connsiteY0" fmla="*/ 10157 h 10157"/>
                <a:gd name="connsiteX1" fmla="*/ 2 w 2"/>
                <a:gd name="connsiteY1" fmla="*/ 0 h 10157"/>
                <a:gd name="connsiteX0" fmla="*/ 95245000 w 95255000"/>
                <a:gd name="connsiteY0" fmla="*/ 10000 h 10000"/>
                <a:gd name="connsiteX1" fmla="*/ 95255000 w 95255000"/>
                <a:gd name="connsiteY1" fmla="*/ 0 h 10000"/>
                <a:gd name="connsiteX0" fmla="*/ 119060000 w 119070000"/>
                <a:gd name="connsiteY0" fmla="*/ 10000 h 10000"/>
                <a:gd name="connsiteX1" fmla="*/ 119070000 w 119070000"/>
                <a:gd name="connsiteY1" fmla="*/ 0 h 10000"/>
                <a:gd name="connsiteX0" fmla="*/ 119060000 w 119070000"/>
                <a:gd name="connsiteY0" fmla="*/ 10000 h 10000"/>
                <a:gd name="connsiteX1" fmla="*/ 119070000 w 119070000"/>
                <a:gd name="connsiteY1" fmla="*/ 0 h 10000"/>
                <a:gd name="connsiteX0" fmla="*/ 142875000 w 142885000"/>
                <a:gd name="connsiteY0" fmla="*/ 10000 h 10000"/>
                <a:gd name="connsiteX1" fmla="*/ 142885000 w 142885000"/>
                <a:gd name="connsiteY1" fmla="*/ 0 h 10000"/>
                <a:gd name="connsiteX0" fmla="*/ 142875000 w 142885000"/>
                <a:gd name="connsiteY0" fmla="*/ 10000 h 10000"/>
                <a:gd name="connsiteX1" fmla="*/ 142885000 w 142885000"/>
                <a:gd name="connsiteY1" fmla="*/ 0 h 10000"/>
                <a:gd name="connsiteX0" fmla="*/ 35705000 w 35705000"/>
                <a:gd name="connsiteY0" fmla="*/ 8299 h 8299"/>
                <a:gd name="connsiteX1" fmla="*/ 0 w 35705000"/>
                <a:gd name="connsiteY1" fmla="*/ 0 h 8299"/>
                <a:gd name="connsiteX0" fmla="*/ 63355 w 63355"/>
                <a:gd name="connsiteY0" fmla="*/ 10000 h 10000"/>
                <a:gd name="connsiteX1" fmla="*/ 53355 w 63355"/>
                <a:gd name="connsiteY1" fmla="*/ 0 h 10000"/>
                <a:gd name="connsiteX0" fmla="*/ 63355 w 63355"/>
                <a:gd name="connsiteY0" fmla="*/ 10000 h 10000"/>
                <a:gd name="connsiteX1" fmla="*/ 53355 w 63355"/>
                <a:gd name="connsiteY1" fmla="*/ 0 h 10000"/>
              </a:gdLst>
              <a:ahLst/>
              <a:cxnLst>
                <a:cxn ang="0">
                  <a:pos x="connsiteX0" y="connsiteY0"/>
                </a:cxn>
                <a:cxn ang="0">
                  <a:pos x="connsiteX1" y="connsiteY1"/>
                </a:cxn>
              </a:cxnLst>
              <a:rect l="l" t="t" r="r" b="b"/>
              <a:pathLst>
                <a:path w="63355" h="10000">
                  <a:moveTo>
                    <a:pt x="63355" y="10000"/>
                  </a:moveTo>
                  <a:cubicBezTo>
                    <a:pt x="13337" y="7133"/>
                    <a:pt x="0" y="3799"/>
                    <a:pt x="53355" y="0"/>
                  </a:cubicBezTo>
                </a:path>
              </a:pathLst>
            </a:custGeom>
            <a:noFill/>
            <a:ln w="19050" cap="rnd" cmpd="sng" algn="ctr">
              <a:solidFill>
                <a:schemeClr val="bg1"/>
              </a:solidFill>
              <a:prstDash val="solid"/>
            </a:ln>
            <a:effectLst/>
          </p:spPr>
          <p:txBody>
            <a:bodyPr wrap="none" lIns="0" tIns="91440" rIns="0" bIns="91440" anchor="ctr"/>
            <a:lstStyle/>
            <a:p>
              <a:pPr marL="0" marR="0" lvl="0" indent="0" algn="ctr" defTabSz="957756" rtl="0" eaLnBrk="1" fontAlgn="auto" latinLnBrk="0" hangingPunct="1">
                <a:lnSpc>
                  <a:spcPct val="100000"/>
                </a:lnSpc>
                <a:spcBef>
                  <a:spcPts val="0"/>
                </a:spcBef>
                <a:spcAft>
                  <a:spcPts val="600"/>
                </a:spcAft>
                <a:buClrTx/>
                <a:buSzTx/>
                <a:buFontTx/>
                <a:buNone/>
                <a:tabLst/>
                <a:defRPr/>
              </a:pPr>
              <a:endParaRPr kumimoji="0" lang="en-US" sz="300" b="1"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9" name="Freeform 174">
              <a:extLst>
                <a:ext uri="{FF2B5EF4-FFF2-40B4-BE49-F238E27FC236}">
                  <a16:creationId xmlns:a16="http://schemas.microsoft.com/office/drawing/2014/main" id="{82C679B2-6ADF-18CD-8DCB-8164AA9FB560}"/>
                </a:ext>
              </a:extLst>
            </p:cNvPr>
            <p:cNvSpPr/>
            <p:nvPr/>
          </p:nvSpPr>
          <p:spPr>
            <a:xfrm flipH="1">
              <a:off x="11283671" y="808863"/>
              <a:ext cx="65082" cy="437002"/>
            </a:xfrm>
            <a:custGeom>
              <a:avLst/>
              <a:gdLst>
                <a:gd name="connsiteX0" fmla="*/ 0 w 1161980"/>
                <a:gd name="connsiteY0" fmla="*/ 702272 h 1404544"/>
                <a:gd name="connsiteX1" fmla="*/ 133336 w 1161980"/>
                <a:gd name="connsiteY1" fmla="*/ 254618 h 1404544"/>
                <a:gd name="connsiteX2" fmla="*/ 580991 w 1161980"/>
                <a:gd name="connsiteY2" fmla="*/ 1 h 1404544"/>
                <a:gd name="connsiteX3" fmla="*/ 1028645 w 1161980"/>
                <a:gd name="connsiteY3" fmla="*/ 254620 h 1404544"/>
                <a:gd name="connsiteX4" fmla="*/ 1161980 w 1161980"/>
                <a:gd name="connsiteY4" fmla="*/ 702274 h 1404544"/>
                <a:gd name="connsiteX5" fmla="*/ 1028644 w 1161980"/>
                <a:gd name="connsiteY5" fmla="*/ 1149928 h 1404544"/>
                <a:gd name="connsiteX6" fmla="*/ 580989 w 1161980"/>
                <a:gd name="connsiteY6" fmla="*/ 1404546 h 1404544"/>
                <a:gd name="connsiteX7" fmla="*/ 133335 w 1161980"/>
                <a:gd name="connsiteY7" fmla="*/ 1149928 h 1404544"/>
                <a:gd name="connsiteX8" fmla="*/ 0 w 1161980"/>
                <a:gd name="connsiteY8" fmla="*/ 702274 h 1404544"/>
                <a:gd name="connsiteX9" fmla="*/ 0 w 1161980"/>
                <a:gd name="connsiteY9" fmla="*/ 702272 h 1404544"/>
                <a:gd name="connsiteX0" fmla="*/ 1 w 1161981"/>
                <a:gd name="connsiteY0" fmla="*/ 702271 h 1427425"/>
                <a:gd name="connsiteX1" fmla="*/ 133337 w 1161981"/>
                <a:gd name="connsiteY1" fmla="*/ 254617 h 1427425"/>
                <a:gd name="connsiteX2" fmla="*/ 580992 w 1161981"/>
                <a:gd name="connsiteY2" fmla="*/ 0 h 1427425"/>
                <a:gd name="connsiteX3" fmla="*/ 1028646 w 1161981"/>
                <a:gd name="connsiteY3" fmla="*/ 254619 h 1427425"/>
                <a:gd name="connsiteX4" fmla="*/ 1161981 w 1161981"/>
                <a:gd name="connsiteY4" fmla="*/ 702273 h 1427425"/>
                <a:gd name="connsiteX5" fmla="*/ 1028645 w 1161981"/>
                <a:gd name="connsiteY5" fmla="*/ 1149927 h 1427425"/>
                <a:gd name="connsiteX6" fmla="*/ 915384 w 1161981"/>
                <a:gd name="connsiteY6" fmla="*/ 1287208 h 1427425"/>
                <a:gd name="connsiteX7" fmla="*/ 580990 w 1161981"/>
                <a:gd name="connsiteY7" fmla="*/ 1404545 h 1427425"/>
                <a:gd name="connsiteX8" fmla="*/ 133336 w 1161981"/>
                <a:gd name="connsiteY8" fmla="*/ 1149927 h 1427425"/>
                <a:gd name="connsiteX9" fmla="*/ 1 w 1161981"/>
                <a:gd name="connsiteY9" fmla="*/ 702273 h 1427425"/>
                <a:gd name="connsiteX10" fmla="*/ 1 w 1161981"/>
                <a:gd name="connsiteY10" fmla="*/ 702271 h 1427425"/>
                <a:gd name="connsiteX0" fmla="*/ 915384 w 1161981"/>
                <a:gd name="connsiteY0" fmla="*/ 1287208 h 1427425"/>
                <a:gd name="connsiteX1" fmla="*/ 580990 w 1161981"/>
                <a:gd name="connsiteY1" fmla="*/ 1404545 h 1427425"/>
                <a:gd name="connsiteX2" fmla="*/ 133336 w 1161981"/>
                <a:gd name="connsiteY2" fmla="*/ 1149927 h 1427425"/>
                <a:gd name="connsiteX3" fmla="*/ 1 w 1161981"/>
                <a:gd name="connsiteY3" fmla="*/ 702273 h 1427425"/>
                <a:gd name="connsiteX4" fmla="*/ 1 w 1161981"/>
                <a:gd name="connsiteY4" fmla="*/ 702271 h 1427425"/>
                <a:gd name="connsiteX5" fmla="*/ 133337 w 1161981"/>
                <a:gd name="connsiteY5" fmla="*/ 254617 h 1427425"/>
                <a:gd name="connsiteX6" fmla="*/ 580992 w 1161981"/>
                <a:gd name="connsiteY6" fmla="*/ 0 h 1427425"/>
                <a:gd name="connsiteX7" fmla="*/ 1028646 w 1161981"/>
                <a:gd name="connsiteY7" fmla="*/ 254619 h 1427425"/>
                <a:gd name="connsiteX8" fmla="*/ 1161981 w 1161981"/>
                <a:gd name="connsiteY8" fmla="*/ 702273 h 1427425"/>
                <a:gd name="connsiteX9" fmla="*/ 1028645 w 1161981"/>
                <a:gd name="connsiteY9" fmla="*/ 1149927 h 1427425"/>
                <a:gd name="connsiteX10" fmla="*/ 1006824 w 1161981"/>
                <a:gd name="connsiteY10" fmla="*/ 1378648 h 1427425"/>
                <a:gd name="connsiteX0" fmla="*/ 915384 w 1161981"/>
                <a:gd name="connsiteY0" fmla="*/ 1287208 h 1427425"/>
                <a:gd name="connsiteX1" fmla="*/ 580990 w 1161981"/>
                <a:gd name="connsiteY1" fmla="*/ 1404545 h 1427425"/>
                <a:gd name="connsiteX2" fmla="*/ 133336 w 1161981"/>
                <a:gd name="connsiteY2" fmla="*/ 1149927 h 1427425"/>
                <a:gd name="connsiteX3" fmla="*/ 1 w 1161981"/>
                <a:gd name="connsiteY3" fmla="*/ 702273 h 1427425"/>
                <a:gd name="connsiteX4" fmla="*/ 1 w 1161981"/>
                <a:gd name="connsiteY4" fmla="*/ 702271 h 1427425"/>
                <a:gd name="connsiteX5" fmla="*/ 133337 w 1161981"/>
                <a:gd name="connsiteY5" fmla="*/ 254617 h 1427425"/>
                <a:gd name="connsiteX6" fmla="*/ 580992 w 1161981"/>
                <a:gd name="connsiteY6" fmla="*/ 0 h 1427425"/>
                <a:gd name="connsiteX7" fmla="*/ 1028646 w 1161981"/>
                <a:gd name="connsiteY7" fmla="*/ 254619 h 1427425"/>
                <a:gd name="connsiteX8" fmla="*/ 1161981 w 1161981"/>
                <a:gd name="connsiteY8" fmla="*/ 702273 h 1427425"/>
                <a:gd name="connsiteX9" fmla="*/ 1028645 w 1161981"/>
                <a:gd name="connsiteY9" fmla="*/ 1149927 h 1427425"/>
                <a:gd name="connsiteX0" fmla="*/ 915384 w 1161981"/>
                <a:gd name="connsiteY0" fmla="*/ 1287208 h 1427425"/>
                <a:gd name="connsiteX1" fmla="*/ 580990 w 1161981"/>
                <a:gd name="connsiteY1" fmla="*/ 1404545 h 1427425"/>
                <a:gd name="connsiteX2" fmla="*/ 133336 w 1161981"/>
                <a:gd name="connsiteY2" fmla="*/ 1149927 h 1427425"/>
                <a:gd name="connsiteX3" fmla="*/ 1 w 1161981"/>
                <a:gd name="connsiteY3" fmla="*/ 702273 h 1427425"/>
                <a:gd name="connsiteX4" fmla="*/ 1 w 1161981"/>
                <a:gd name="connsiteY4" fmla="*/ 702271 h 1427425"/>
                <a:gd name="connsiteX5" fmla="*/ 133337 w 1161981"/>
                <a:gd name="connsiteY5" fmla="*/ 254617 h 1427425"/>
                <a:gd name="connsiteX6" fmla="*/ 580992 w 1161981"/>
                <a:gd name="connsiteY6" fmla="*/ 0 h 1427425"/>
                <a:gd name="connsiteX7" fmla="*/ 1028646 w 1161981"/>
                <a:gd name="connsiteY7" fmla="*/ 254619 h 1427425"/>
                <a:gd name="connsiteX8" fmla="*/ 1161981 w 1161981"/>
                <a:gd name="connsiteY8" fmla="*/ 702273 h 1427425"/>
                <a:gd name="connsiteX9" fmla="*/ 1028645 w 1161981"/>
                <a:gd name="connsiteY9" fmla="*/ 1149927 h 1427425"/>
                <a:gd name="connsiteX0" fmla="*/ 915384 w 1161981"/>
                <a:gd name="connsiteY0" fmla="*/ 1287208 h 1427425"/>
                <a:gd name="connsiteX1" fmla="*/ 580990 w 1161981"/>
                <a:gd name="connsiteY1" fmla="*/ 1404545 h 1427425"/>
                <a:gd name="connsiteX2" fmla="*/ 133336 w 1161981"/>
                <a:gd name="connsiteY2" fmla="*/ 1149927 h 1427425"/>
                <a:gd name="connsiteX3" fmla="*/ 1 w 1161981"/>
                <a:gd name="connsiteY3" fmla="*/ 702273 h 1427425"/>
                <a:gd name="connsiteX4" fmla="*/ 1 w 1161981"/>
                <a:gd name="connsiteY4" fmla="*/ 702271 h 1427425"/>
                <a:gd name="connsiteX5" fmla="*/ 133337 w 1161981"/>
                <a:gd name="connsiteY5" fmla="*/ 254617 h 1427425"/>
                <a:gd name="connsiteX6" fmla="*/ 580992 w 1161981"/>
                <a:gd name="connsiteY6" fmla="*/ 0 h 1427425"/>
                <a:gd name="connsiteX7" fmla="*/ 1028646 w 1161981"/>
                <a:gd name="connsiteY7" fmla="*/ 254619 h 1427425"/>
                <a:gd name="connsiteX8" fmla="*/ 1161981 w 1161981"/>
                <a:gd name="connsiteY8" fmla="*/ 702273 h 1427425"/>
                <a:gd name="connsiteX9" fmla="*/ 1028645 w 1161981"/>
                <a:gd name="connsiteY9" fmla="*/ 1149927 h 1427425"/>
                <a:gd name="connsiteX0" fmla="*/ 915384 w 1161981"/>
                <a:gd name="connsiteY0" fmla="*/ 1287208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9" fmla="*/ 1028645 w 1161981"/>
                <a:gd name="connsiteY9" fmla="*/ 1149927 h 1405200"/>
                <a:gd name="connsiteX0" fmla="*/ 909034 w 1161981"/>
                <a:gd name="connsiteY0" fmla="*/ 1284033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9" fmla="*/ 1028645 w 1161981"/>
                <a:gd name="connsiteY9" fmla="*/ 1149927 h 1405200"/>
                <a:gd name="connsiteX0" fmla="*/ 909034 w 1161981"/>
                <a:gd name="connsiteY0" fmla="*/ 1284033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9" fmla="*/ 1028645 w 1161981"/>
                <a:gd name="connsiteY9" fmla="*/ 1149927 h 1405200"/>
                <a:gd name="connsiteX0" fmla="*/ 909034 w 1161981"/>
                <a:gd name="connsiteY0" fmla="*/ 1284033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9" fmla="*/ 1028645 w 1161981"/>
                <a:gd name="connsiteY9" fmla="*/ 1149927 h 1405200"/>
                <a:gd name="connsiteX0" fmla="*/ 909034 w 1161981"/>
                <a:gd name="connsiteY0" fmla="*/ 1284033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0" fmla="*/ 580990 w 1161981"/>
                <a:gd name="connsiteY0" fmla="*/ 1404545 h 1404545"/>
                <a:gd name="connsiteX1" fmla="*/ 133336 w 1161981"/>
                <a:gd name="connsiteY1" fmla="*/ 1149927 h 1404545"/>
                <a:gd name="connsiteX2" fmla="*/ 1 w 1161981"/>
                <a:gd name="connsiteY2" fmla="*/ 702273 h 1404545"/>
                <a:gd name="connsiteX3" fmla="*/ 1 w 1161981"/>
                <a:gd name="connsiteY3" fmla="*/ 702271 h 1404545"/>
                <a:gd name="connsiteX4" fmla="*/ 133337 w 1161981"/>
                <a:gd name="connsiteY4" fmla="*/ 254617 h 1404545"/>
                <a:gd name="connsiteX5" fmla="*/ 580992 w 1161981"/>
                <a:gd name="connsiteY5" fmla="*/ 0 h 1404545"/>
                <a:gd name="connsiteX6" fmla="*/ 1028646 w 1161981"/>
                <a:gd name="connsiteY6" fmla="*/ 254619 h 1404545"/>
                <a:gd name="connsiteX7" fmla="*/ 1161981 w 1161981"/>
                <a:gd name="connsiteY7" fmla="*/ 702273 h 1404545"/>
                <a:gd name="connsiteX0" fmla="*/ 580990 w 1028646"/>
                <a:gd name="connsiteY0" fmla="*/ 1404545 h 1404545"/>
                <a:gd name="connsiteX1" fmla="*/ 133336 w 1028646"/>
                <a:gd name="connsiteY1" fmla="*/ 1149927 h 1404545"/>
                <a:gd name="connsiteX2" fmla="*/ 1 w 1028646"/>
                <a:gd name="connsiteY2" fmla="*/ 702273 h 1404545"/>
                <a:gd name="connsiteX3" fmla="*/ 1 w 1028646"/>
                <a:gd name="connsiteY3" fmla="*/ 702271 h 1404545"/>
                <a:gd name="connsiteX4" fmla="*/ 133337 w 1028646"/>
                <a:gd name="connsiteY4" fmla="*/ 254617 h 1404545"/>
                <a:gd name="connsiteX5" fmla="*/ 580992 w 1028646"/>
                <a:gd name="connsiteY5" fmla="*/ 0 h 1404545"/>
                <a:gd name="connsiteX6" fmla="*/ 1028646 w 1028646"/>
                <a:gd name="connsiteY6" fmla="*/ 254619 h 1404545"/>
                <a:gd name="connsiteX0" fmla="*/ 580990 w 580992"/>
                <a:gd name="connsiteY0" fmla="*/ 1404545 h 1404545"/>
                <a:gd name="connsiteX1" fmla="*/ 133336 w 580992"/>
                <a:gd name="connsiteY1" fmla="*/ 1149927 h 1404545"/>
                <a:gd name="connsiteX2" fmla="*/ 1 w 580992"/>
                <a:gd name="connsiteY2" fmla="*/ 702273 h 1404545"/>
                <a:gd name="connsiteX3" fmla="*/ 1 w 580992"/>
                <a:gd name="connsiteY3" fmla="*/ 702271 h 1404545"/>
                <a:gd name="connsiteX4" fmla="*/ 133337 w 580992"/>
                <a:gd name="connsiteY4" fmla="*/ 254617 h 1404545"/>
                <a:gd name="connsiteX5" fmla="*/ 580992 w 580992"/>
                <a:gd name="connsiteY5" fmla="*/ 0 h 1404545"/>
                <a:gd name="connsiteX0" fmla="*/ 580990 w 580990"/>
                <a:gd name="connsiteY0" fmla="*/ 1149928 h 1149928"/>
                <a:gd name="connsiteX1" fmla="*/ 133336 w 580990"/>
                <a:gd name="connsiteY1" fmla="*/ 895310 h 1149928"/>
                <a:gd name="connsiteX2" fmla="*/ 1 w 580990"/>
                <a:gd name="connsiteY2" fmla="*/ 447656 h 1149928"/>
                <a:gd name="connsiteX3" fmla="*/ 1 w 580990"/>
                <a:gd name="connsiteY3" fmla="*/ 447654 h 1149928"/>
                <a:gd name="connsiteX4" fmla="*/ 133337 w 580990"/>
                <a:gd name="connsiteY4" fmla="*/ 0 h 1149928"/>
                <a:gd name="connsiteX0" fmla="*/ 133336 w 133337"/>
                <a:gd name="connsiteY0" fmla="*/ 895310 h 895310"/>
                <a:gd name="connsiteX1" fmla="*/ 1 w 133337"/>
                <a:gd name="connsiteY1" fmla="*/ 447656 h 895310"/>
                <a:gd name="connsiteX2" fmla="*/ 1 w 133337"/>
                <a:gd name="connsiteY2" fmla="*/ 447654 h 895310"/>
                <a:gd name="connsiteX3" fmla="*/ 133337 w 133337"/>
                <a:gd name="connsiteY3" fmla="*/ 0 h 895310"/>
              </a:gdLst>
              <a:ahLst/>
              <a:cxnLst>
                <a:cxn ang="0">
                  <a:pos x="connsiteX0" y="connsiteY0"/>
                </a:cxn>
                <a:cxn ang="0">
                  <a:pos x="connsiteX1" y="connsiteY1"/>
                </a:cxn>
                <a:cxn ang="0">
                  <a:pos x="connsiteX2" y="connsiteY2"/>
                </a:cxn>
                <a:cxn ang="0">
                  <a:pos x="connsiteX3" y="connsiteY3"/>
                </a:cxn>
              </a:cxnLst>
              <a:rect l="l" t="t" r="r" b="b"/>
              <a:pathLst>
                <a:path w="133337" h="895310">
                  <a:moveTo>
                    <a:pt x="133336" y="895310"/>
                  </a:moveTo>
                  <a:cubicBezTo>
                    <a:pt x="47153" y="769390"/>
                    <a:pt x="0" y="611081"/>
                    <a:pt x="1" y="447656"/>
                  </a:cubicBezTo>
                  <a:lnTo>
                    <a:pt x="1" y="447654"/>
                  </a:lnTo>
                  <a:cubicBezTo>
                    <a:pt x="1" y="284228"/>
                    <a:pt x="47154" y="125919"/>
                    <a:pt x="133337" y="0"/>
                  </a:cubicBezTo>
                </a:path>
              </a:pathLst>
            </a:custGeom>
            <a:noFill/>
            <a:ln w="19050" cap="rnd" cmpd="sng" algn="ctr">
              <a:solidFill>
                <a:schemeClr val="bg1"/>
              </a:solidFill>
              <a:prstDash val="solid"/>
            </a:ln>
            <a:effectLst/>
          </p:spPr>
          <p:txBody>
            <a:bodyPr wrap="none" lIns="0" tIns="91440" rIns="0" bIns="91440" anchor="ctr"/>
            <a:lstStyle/>
            <a:p>
              <a:pPr marL="0" marR="0" lvl="0" indent="0" algn="ctr" defTabSz="957756" rtl="0" eaLnBrk="1" fontAlgn="auto" latinLnBrk="0" hangingPunct="1">
                <a:lnSpc>
                  <a:spcPct val="100000"/>
                </a:lnSpc>
                <a:spcBef>
                  <a:spcPts val="0"/>
                </a:spcBef>
                <a:spcAft>
                  <a:spcPts val="600"/>
                </a:spcAft>
                <a:buClrTx/>
                <a:buSzTx/>
                <a:buFontTx/>
                <a:buNone/>
                <a:tabLst/>
                <a:defRPr/>
              </a:pPr>
              <a:endParaRPr kumimoji="0" lang="en-US" sz="300" b="1"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40" name="Freeform 175">
              <a:extLst>
                <a:ext uri="{FF2B5EF4-FFF2-40B4-BE49-F238E27FC236}">
                  <a16:creationId xmlns:a16="http://schemas.microsoft.com/office/drawing/2014/main" id="{263C2AE5-7E3E-4B15-13EA-99AD76D92B2C}"/>
                </a:ext>
              </a:extLst>
            </p:cNvPr>
            <p:cNvSpPr/>
            <p:nvPr/>
          </p:nvSpPr>
          <p:spPr>
            <a:xfrm flipH="1">
              <a:off x="11390653" y="964988"/>
              <a:ext cx="22083" cy="124752"/>
            </a:xfrm>
            <a:custGeom>
              <a:avLst/>
              <a:gdLst>
                <a:gd name="connsiteX0" fmla="*/ 0 w 1161980"/>
                <a:gd name="connsiteY0" fmla="*/ 702272 h 1404544"/>
                <a:gd name="connsiteX1" fmla="*/ 133336 w 1161980"/>
                <a:gd name="connsiteY1" fmla="*/ 254618 h 1404544"/>
                <a:gd name="connsiteX2" fmla="*/ 580991 w 1161980"/>
                <a:gd name="connsiteY2" fmla="*/ 1 h 1404544"/>
                <a:gd name="connsiteX3" fmla="*/ 1028645 w 1161980"/>
                <a:gd name="connsiteY3" fmla="*/ 254620 h 1404544"/>
                <a:gd name="connsiteX4" fmla="*/ 1161980 w 1161980"/>
                <a:gd name="connsiteY4" fmla="*/ 702274 h 1404544"/>
                <a:gd name="connsiteX5" fmla="*/ 1028644 w 1161980"/>
                <a:gd name="connsiteY5" fmla="*/ 1149928 h 1404544"/>
                <a:gd name="connsiteX6" fmla="*/ 580989 w 1161980"/>
                <a:gd name="connsiteY6" fmla="*/ 1404546 h 1404544"/>
                <a:gd name="connsiteX7" fmla="*/ 133335 w 1161980"/>
                <a:gd name="connsiteY7" fmla="*/ 1149928 h 1404544"/>
                <a:gd name="connsiteX8" fmla="*/ 0 w 1161980"/>
                <a:gd name="connsiteY8" fmla="*/ 702274 h 1404544"/>
                <a:gd name="connsiteX9" fmla="*/ 0 w 1161980"/>
                <a:gd name="connsiteY9" fmla="*/ 702272 h 1404544"/>
                <a:gd name="connsiteX0" fmla="*/ 1 w 1161981"/>
                <a:gd name="connsiteY0" fmla="*/ 702271 h 1427425"/>
                <a:gd name="connsiteX1" fmla="*/ 133337 w 1161981"/>
                <a:gd name="connsiteY1" fmla="*/ 254617 h 1427425"/>
                <a:gd name="connsiteX2" fmla="*/ 580992 w 1161981"/>
                <a:gd name="connsiteY2" fmla="*/ 0 h 1427425"/>
                <a:gd name="connsiteX3" fmla="*/ 1028646 w 1161981"/>
                <a:gd name="connsiteY3" fmla="*/ 254619 h 1427425"/>
                <a:gd name="connsiteX4" fmla="*/ 1161981 w 1161981"/>
                <a:gd name="connsiteY4" fmla="*/ 702273 h 1427425"/>
                <a:gd name="connsiteX5" fmla="*/ 1028645 w 1161981"/>
                <a:gd name="connsiteY5" fmla="*/ 1149927 h 1427425"/>
                <a:gd name="connsiteX6" fmla="*/ 915384 w 1161981"/>
                <a:gd name="connsiteY6" fmla="*/ 1287208 h 1427425"/>
                <a:gd name="connsiteX7" fmla="*/ 580990 w 1161981"/>
                <a:gd name="connsiteY7" fmla="*/ 1404545 h 1427425"/>
                <a:gd name="connsiteX8" fmla="*/ 133336 w 1161981"/>
                <a:gd name="connsiteY8" fmla="*/ 1149927 h 1427425"/>
                <a:gd name="connsiteX9" fmla="*/ 1 w 1161981"/>
                <a:gd name="connsiteY9" fmla="*/ 702273 h 1427425"/>
                <a:gd name="connsiteX10" fmla="*/ 1 w 1161981"/>
                <a:gd name="connsiteY10" fmla="*/ 702271 h 1427425"/>
                <a:gd name="connsiteX0" fmla="*/ 915384 w 1161981"/>
                <a:gd name="connsiteY0" fmla="*/ 1287208 h 1427425"/>
                <a:gd name="connsiteX1" fmla="*/ 580990 w 1161981"/>
                <a:gd name="connsiteY1" fmla="*/ 1404545 h 1427425"/>
                <a:gd name="connsiteX2" fmla="*/ 133336 w 1161981"/>
                <a:gd name="connsiteY2" fmla="*/ 1149927 h 1427425"/>
                <a:gd name="connsiteX3" fmla="*/ 1 w 1161981"/>
                <a:gd name="connsiteY3" fmla="*/ 702273 h 1427425"/>
                <a:gd name="connsiteX4" fmla="*/ 1 w 1161981"/>
                <a:gd name="connsiteY4" fmla="*/ 702271 h 1427425"/>
                <a:gd name="connsiteX5" fmla="*/ 133337 w 1161981"/>
                <a:gd name="connsiteY5" fmla="*/ 254617 h 1427425"/>
                <a:gd name="connsiteX6" fmla="*/ 580992 w 1161981"/>
                <a:gd name="connsiteY6" fmla="*/ 0 h 1427425"/>
                <a:gd name="connsiteX7" fmla="*/ 1028646 w 1161981"/>
                <a:gd name="connsiteY7" fmla="*/ 254619 h 1427425"/>
                <a:gd name="connsiteX8" fmla="*/ 1161981 w 1161981"/>
                <a:gd name="connsiteY8" fmla="*/ 702273 h 1427425"/>
                <a:gd name="connsiteX9" fmla="*/ 1028645 w 1161981"/>
                <a:gd name="connsiteY9" fmla="*/ 1149927 h 1427425"/>
                <a:gd name="connsiteX10" fmla="*/ 1006824 w 1161981"/>
                <a:gd name="connsiteY10" fmla="*/ 1378648 h 1427425"/>
                <a:gd name="connsiteX0" fmla="*/ 915384 w 1161981"/>
                <a:gd name="connsiteY0" fmla="*/ 1287208 h 1427425"/>
                <a:gd name="connsiteX1" fmla="*/ 580990 w 1161981"/>
                <a:gd name="connsiteY1" fmla="*/ 1404545 h 1427425"/>
                <a:gd name="connsiteX2" fmla="*/ 133336 w 1161981"/>
                <a:gd name="connsiteY2" fmla="*/ 1149927 h 1427425"/>
                <a:gd name="connsiteX3" fmla="*/ 1 w 1161981"/>
                <a:gd name="connsiteY3" fmla="*/ 702273 h 1427425"/>
                <a:gd name="connsiteX4" fmla="*/ 1 w 1161981"/>
                <a:gd name="connsiteY4" fmla="*/ 702271 h 1427425"/>
                <a:gd name="connsiteX5" fmla="*/ 133337 w 1161981"/>
                <a:gd name="connsiteY5" fmla="*/ 254617 h 1427425"/>
                <a:gd name="connsiteX6" fmla="*/ 580992 w 1161981"/>
                <a:gd name="connsiteY6" fmla="*/ 0 h 1427425"/>
                <a:gd name="connsiteX7" fmla="*/ 1028646 w 1161981"/>
                <a:gd name="connsiteY7" fmla="*/ 254619 h 1427425"/>
                <a:gd name="connsiteX8" fmla="*/ 1161981 w 1161981"/>
                <a:gd name="connsiteY8" fmla="*/ 702273 h 1427425"/>
                <a:gd name="connsiteX9" fmla="*/ 1028645 w 1161981"/>
                <a:gd name="connsiteY9" fmla="*/ 1149927 h 1427425"/>
                <a:gd name="connsiteX0" fmla="*/ 915384 w 1161981"/>
                <a:gd name="connsiteY0" fmla="*/ 1287208 h 1427425"/>
                <a:gd name="connsiteX1" fmla="*/ 580990 w 1161981"/>
                <a:gd name="connsiteY1" fmla="*/ 1404545 h 1427425"/>
                <a:gd name="connsiteX2" fmla="*/ 133336 w 1161981"/>
                <a:gd name="connsiteY2" fmla="*/ 1149927 h 1427425"/>
                <a:gd name="connsiteX3" fmla="*/ 1 w 1161981"/>
                <a:gd name="connsiteY3" fmla="*/ 702273 h 1427425"/>
                <a:gd name="connsiteX4" fmla="*/ 1 w 1161981"/>
                <a:gd name="connsiteY4" fmla="*/ 702271 h 1427425"/>
                <a:gd name="connsiteX5" fmla="*/ 133337 w 1161981"/>
                <a:gd name="connsiteY5" fmla="*/ 254617 h 1427425"/>
                <a:gd name="connsiteX6" fmla="*/ 580992 w 1161981"/>
                <a:gd name="connsiteY6" fmla="*/ 0 h 1427425"/>
                <a:gd name="connsiteX7" fmla="*/ 1028646 w 1161981"/>
                <a:gd name="connsiteY7" fmla="*/ 254619 h 1427425"/>
                <a:gd name="connsiteX8" fmla="*/ 1161981 w 1161981"/>
                <a:gd name="connsiteY8" fmla="*/ 702273 h 1427425"/>
                <a:gd name="connsiteX9" fmla="*/ 1028645 w 1161981"/>
                <a:gd name="connsiteY9" fmla="*/ 1149927 h 1427425"/>
                <a:gd name="connsiteX0" fmla="*/ 915384 w 1161981"/>
                <a:gd name="connsiteY0" fmla="*/ 1287208 h 1427425"/>
                <a:gd name="connsiteX1" fmla="*/ 580990 w 1161981"/>
                <a:gd name="connsiteY1" fmla="*/ 1404545 h 1427425"/>
                <a:gd name="connsiteX2" fmla="*/ 133336 w 1161981"/>
                <a:gd name="connsiteY2" fmla="*/ 1149927 h 1427425"/>
                <a:gd name="connsiteX3" fmla="*/ 1 w 1161981"/>
                <a:gd name="connsiteY3" fmla="*/ 702273 h 1427425"/>
                <a:gd name="connsiteX4" fmla="*/ 1 w 1161981"/>
                <a:gd name="connsiteY4" fmla="*/ 702271 h 1427425"/>
                <a:gd name="connsiteX5" fmla="*/ 133337 w 1161981"/>
                <a:gd name="connsiteY5" fmla="*/ 254617 h 1427425"/>
                <a:gd name="connsiteX6" fmla="*/ 580992 w 1161981"/>
                <a:gd name="connsiteY6" fmla="*/ 0 h 1427425"/>
                <a:gd name="connsiteX7" fmla="*/ 1028646 w 1161981"/>
                <a:gd name="connsiteY7" fmla="*/ 254619 h 1427425"/>
                <a:gd name="connsiteX8" fmla="*/ 1161981 w 1161981"/>
                <a:gd name="connsiteY8" fmla="*/ 702273 h 1427425"/>
                <a:gd name="connsiteX9" fmla="*/ 1028645 w 1161981"/>
                <a:gd name="connsiteY9" fmla="*/ 1149927 h 1427425"/>
                <a:gd name="connsiteX0" fmla="*/ 915384 w 1161981"/>
                <a:gd name="connsiteY0" fmla="*/ 1287208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9" fmla="*/ 1028645 w 1161981"/>
                <a:gd name="connsiteY9" fmla="*/ 1149927 h 1405200"/>
                <a:gd name="connsiteX0" fmla="*/ 909034 w 1161981"/>
                <a:gd name="connsiteY0" fmla="*/ 1284033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9" fmla="*/ 1028645 w 1161981"/>
                <a:gd name="connsiteY9" fmla="*/ 1149927 h 1405200"/>
                <a:gd name="connsiteX0" fmla="*/ 909034 w 1161981"/>
                <a:gd name="connsiteY0" fmla="*/ 1284033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9" fmla="*/ 1028645 w 1161981"/>
                <a:gd name="connsiteY9" fmla="*/ 1149927 h 1405200"/>
                <a:gd name="connsiteX0" fmla="*/ 909034 w 1161981"/>
                <a:gd name="connsiteY0" fmla="*/ 1284033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9" fmla="*/ 1028645 w 1161981"/>
                <a:gd name="connsiteY9" fmla="*/ 1149927 h 1405200"/>
                <a:gd name="connsiteX0" fmla="*/ 909034 w 1161981"/>
                <a:gd name="connsiteY0" fmla="*/ 1284033 h 1405200"/>
                <a:gd name="connsiteX1" fmla="*/ 580990 w 1161981"/>
                <a:gd name="connsiteY1" fmla="*/ 1404545 h 1405200"/>
                <a:gd name="connsiteX2" fmla="*/ 133336 w 1161981"/>
                <a:gd name="connsiteY2" fmla="*/ 1149927 h 1405200"/>
                <a:gd name="connsiteX3" fmla="*/ 1 w 1161981"/>
                <a:gd name="connsiteY3" fmla="*/ 702273 h 1405200"/>
                <a:gd name="connsiteX4" fmla="*/ 1 w 1161981"/>
                <a:gd name="connsiteY4" fmla="*/ 702271 h 1405200"/>
                <a:gd name="connsiteX5" fmla="*/ 133337 w 1161981"/>
                <a:gd name="connsiteY5" fmla="*/ 254617 h 1405200"/>
                <a:gd name="connsiteX6" fmla="*/ 580992 w 1161981"/>
                <a:gd name="connsiteY6" fmla="*/ 0 h 1405200"/>
                <a:gd name="connsiteX7" fmla="*/ 1028646 w 1161981"/>
                <a:gd name="connsiteY7" fmla="*/ 254619 h 1405200"/>
                <a:gd name="connsiteX8" fmla="*/ 1161981 w 1161981"/>
                <a:gd name="connsiteY8" fmla="*/ 702273 h 1405200"/>
                <a:gd name="connsiteX0" fmla="*/ 580990 w 1161981"/>
                <a:gd name="connsiteY0" fmla="*/ 1404545 h 1404545"/>
                <a:gd name="connsiteX1" fmla="*/ 133336 w 1161981"/>
                <a:gd name="connsiteY1" fmla="*/ 1149927 h 1404545"/>
                <a:gd name="connsiteX2" fmla="*/ 1 w 1161981"/>
                <a:gd name="connsiteY2" fmla="*/ 702273 h 1404545"/>
                <a:gd name="connsiteX3" fmla="*/ 1 w 1161981"/>
                <a:gd name="connsiteY3" fmla="*/ 702271 h 1404545"/>
                <a:gd name="connsiteX4" fmla="*/ 133337 w 1161981"/>
                <a:gd name="connsiteY4" fmla="*/ 254617 h 1404545"/>
                <a:gd name="connsiteX5" fmla="*/ 580992 w 1161981"/>
                <a:gd name="connsiteY5" fmla="*/ 0 h 1404545"/>
                <a:gd name="connsiteX6" fmla="*/ 1028646 w 1161981"/>
                <a:gd name="connsiteY6" fmla="*/ 254619 h 1404545"/>
                <a:gd name="connsiteX7" fmla="*/ 1161981 w 1161981"/>
                <a:gd name="connsiteY7" fmla="*/ 702273 h 1404545"/>
                <a:gd name="connsiteX0" fmla="*/ 580990 w 1028646"/>
                <a:gd name="connsiteY0" fmla="*/ 1404545 h 1404545"/>
                <a:gd name="connsiteX1" fmla="*/ 133336 w 1028646"/>
                <a:gd name="connsiteY1" fmla="*/ 1149927 h 1404545"/>
                <a:gd name="connsiteX2" fmla="*/ 1 w 1028646"/>
                <a:gd name="connsiteY2" fmla="*/ 702273 h 1404545"/>
                <a:gd name="connsiteX3" fmla="*/ 1 w 1028646"/>
                <a:gd name="connsiteY3" fmla="*/ 702271 h 1404545"/>
                <a:gd name="connsiteX4" fmla="*/ 133337 w 1028646"/>
                <a:gd name="connsiteY4" fmla="*/ 254617 h 1404545"/>
                <a:gd name="connsiteX5" fmla="*/ 580992 w 1028646"/>
                <a:gd name="connsiteY5" fmla="*/ 0 h 1404545"/>
                <a:gd name="connsiteX6" fmla="*/ 1028646 w 1028646"/>
                <a:gd name="connsiteY6" fmla="*/ 254619 h 1404545"/>
                <a:gd name="connsiteX0" fmla="*/ 580990 w 580992"/>
                <a:gd name="connsiteY0" fmla="*/ 1404545 h 1404545"/>
                <a:gd name="connsiteX1" fmla="*/ 133336 w 580992"/>
                <a:gd name="connsiteY1" fmla="*/ 1149927 h 1404545"/>
                <a:gd name="connsiteX2" fmla="*/ 1 w 580992"/>
                <a:gd name="connsiteY2" fmla="*/ 702273 h 1404545"/>
                <a:gd name="connsiteX3" fmla="*/ 1 w 580992"/>
                <a:gd name="connsiteY3" fmla="*/ 702271 h 1404545"/>
                <a:gd name="connsiteX4" fmla="*/ 133337 w 580992"/>
                <a:gd name="connsiteY4" fmla="*/ 254617 h 1404545"/>
                <a:gd name="connsiteX5" fmla="*/ 580992 w 580992"/>
                <a:gd name="connsiteY5" fmla="*/ 0 h 1404545"/>
                <a:gd name="connsiteX0" fmla="*/ 580990 w 580990"/>
                <a:gd name="connsiteY0" fmla="*/ 1149928 h 1149928"/>
                <a:gd name="connsiteX1" fmla="*/ 133336 w 580990"/>
                <a:gd name="connsiteY1" fmla="*/ 895310 h 1149928"/>
                <a:gd name="connsiteX2" fmla="*/ 1 w 580990"/>
                <a:gd name="connsiteY2" fmla="*/ 447656 h 1149928"/>
                <a:gd name="connsiteX3" fmla="*/ 1 w 580990"/>
                <a:gd name="connsiteY3" fmla="*/ 447654 h 1149928"/>
                <a:gd name="connsiteX4" fmla="*/ 133337 w 580990"/>
                <a:gd name="connsiteY4" fmla="*/ 0 h 1149928"/>
                <a:gd name="connsiteX0" fmla="*/ 133336 w 133337"/>
                <a:gd name="connsiteY0" fmla="*/ 895310 h 895310"/>
                <a:gd name="connsiteX1" fmla="*/ 1 w 133337"/>
                <a:gd name="connsiteY1" fmla="*/ 447656 h 895310"/>
                <a:gd name="connsiteX2" fmla="*/ 1 w 133337"/>
                <a:gd name="connsiteY2" fmla="*/ 447654 h 895310"/>
                <a:gd name="connsiteX3" fmla="*/ 133337 w 133337"/>
                <a:gd name="connsiteY3" fmla="*/ 0 h 895310"/>
                <a:gd name="connsiteX0" fmla="*/ 141304 w 141305"/>
                <a:gd name="connsiteY0" fmla="*/ 895310 h 895310"/>
                <a:gd name="connsiteX1" fmla="*/ 7969 w 141305"/>
                <a:gd name="connsiteY1" fmla="*/ 447656 h 895310"/>
                <a:gd name="connsiteX2" fmla="*/ 7969 w 141305"/>
                <a:gd name="connsiteY2" fmla="*/ 447654 h 895310"/>
                <a:gd name="connsiteX3" fmla="*/ 22223 w 141305"/>
                <a:gd name="connsiteY3" fmla="*/ 332227 h 895310"/>
                <a:gd name="connsiteX4" fmla="*/ 141305 w 141305"/>
                <a:gd name="connsiteY4" fmla="*/ 0 h 895310"/>
                <a:gd name="connsiteX0" fmla="*/ 141304 w 141305"/>
                <a:gd name="connsiteY0" fmla="*/ 895310 h 895310"/>
                <a:gd name="connsiteX1" fmla="*/ 22223 w 141305"/>
                <a:gd name="connsiteY1" fmla="*/ 573527 h 895310"/>
                <a:gd name="connsiteX2" fmla="*/ 7969 w 141305"/>
                <a:gd name="connsiteY2" fmla="*/ 447656 h 895310"/>
                <a:gd name="connsiteX3" fmla="*/ 7969 w 141305"/>
                <a:gd name="connsiteY3" fmla="*/ 447654 h 895310"/>
                <a:gd name="connsiteX4" fmla="*/ 22223 w 141305"/>
                <a:gd name="connsiteY4" fmla="*/ 332227 h 895310"/>
                <a:gd name="connsiteX5" fmla="*/ 141305 w 141305"/>
                <a:gd name="connsiteY5" fmla="*/ 0 h 895310"/>
                <a:gd name="connsiteX0" fmla="*/ 141304 w 141305"/>
                <a:gd name="connsiteY0" fmla="*/ 895310 h 895310"/>
                <a:gd name="connsiteX1" fmla="*/ 22223 w 141305"/>
                <a:gd name="connsiteY1" fmla="*/ 573527 h 895310"/>
                <a:gd name="connsiteX2" fmla="*/ 7969 w 141305"/>
                <a:gd name="connsiteY2" fmla="*/ 447656 h 895310"/>
                <a:gd name="connsiteX3" fmla="*/ 7969 w 141305"/>
                <a:gd name="connsiteY3" fmla="*/ 447654 h 895310"/>
                <a:gd name="connsiteX4" fmla="*/ 22223 w 141305"/>
                <a:gd name="connsiteY4" fmla="*/ 313177 h 895310"/>
                <a:gd name="connsiteX5" fmla="*/ 141305 w 141305"/>
                <a:gd name="connsiteY5" fmla="*/ 0 h 895310"/>
                <a:gd name="connsiteX0" fmla="*/ 141304 w 141305"/>
                <a:gd name="connsiteY0" fmla="*/ 895310 h 895310"/>
                <a:gd name="connsiteX1" fmla="*/ 22223 w 141305"/>
                <a:gd name="connsiteY1" fmla="*/ 573527 h 895310"/>
                <a:gd name="connsiteX2" fmla="*/ 7969 w 141305"/>
                <a:gd name="connsiteY2" fmla="*/ 447656 h 895310"/>
                <a:gd name="connsiteX3" fmla="*/ 7969 w 141305"/>
                <a:gd name="connsiteY3" fmla="*/ 447654 h 895310"/>
                <a:gd name="connsiteX4" fmla="*/ 22223 w 141305"/>
                <a:gd name="connsiteY4" fmla="*/ 313177 h 895310"/>
                <a:gd name="connsiteX5" fmla="*/ 141305 w 141305"/>
                <a:gd name="connsiteY5" fmla="*/ 0 h 895310"/>
                <a:gd name="connsiteX0" fmla="*/ 141304 w 141305"/>
                <a:gd name="connsiteY0" fmla="*/ 895310 h 895310"/>
                <a:gd name="connsiteX1" fmla="*/ 22223 w 141305"/>
                <a:gd name="connsiteY1" fmla="*/ 573527 h 895310"/>
                <a:gd name="connsiteX2" fmla="*/ 7969 w 141305"/>
                <a:gd name="connsiteY2" fmla="*/ 447656 h 895310"/>
                <a:gd name="connsiteX3" fmla="*/ 7969 w 141305"/>
                <a:gd name="connsiteY3" fmla="*/ 447654 h 895310"/>
                <a:gd name="connsiteX4" fmla="*/ 22223 w 141305"/>
                <a:gd name="connsiteY4" fmla="*/ 313177 h 895310"/>
                <a:gd name="connsiteX5" fmla="*/ 141305 w 141305"/>
                <a:gd name="connsiteY5" fmla="*/ 0 h 895310"/>
                <a:gd name="connsiteX0" fmla="*/ 141304 w 141305"/>
                <a:gd name="connsiteY0" fmla="*/ 895310 h 895310"/>
                <a:gd name="connsiteX1" fmla="*/ 22223 w 141305"/>
                <a:gd name="connsiteY1" fmla="*/ 573527 h 895310"/>
                <a:gd name="connsiteX2" fmla="*/ 7969 w 141305"/>
                <a:gd name="connsiteY2" fmla="*/ 447656 h 895310"/>
                <a:gd name="connsiteX3" fmla="*/ 7969 w 141305"/>
                <a:gd name="connsiteY3" fmla="*/ 447654 h 895310"/>
                <a:gd name="connsiteX4" fmla="*/ 22223 w 141305"/>
                <a:gd name="connsiteY4" fmla="*/ 313177 h 895310"/>
                <a:gd name="connsiteX5" fmla="*/ 141305 w 141305"/>
                <a:gd name="connsiteY5" fmla="*/ 0 h 895310"/>
                <a:gd name="connsiteX0" fmla="*/ 143685 w 143686"/>
                <a:gd name="connsiteY0" fmla="*/ 895310 h 895310"/>
                <a:gd name="connsiteX1" fmla="*/ 24604 w 143686"/>
                <a:gd name="connsiteY1" fmla="*/ 573527 h 895310"/>
                <a:gd name="connsiteX2" fmla="*/ 10350 w 143686"/>
                <a:gd name="connsiteY2" fmla="*/ 447656 h 895310"/>
                <a:gd name="connsiteX3" fmla="*/ 10350 w 143686"/>
                <a:gd name="connsiteY3" fmla="*/ 447654 h 895310"/>
                <a:gd name="connsiteX4" fmla="*/ 22223 w 143686"/>
                <a:gd name="connsiteY4" fmla="*/ 317939 h 895310"/>
                <a:gd name="connsiteX5" fmla="*/ 143686 w 143686"/>
                <a:gd name="connsiteY5" fmla="*/ 0 h 895310"/>
                <a:gd name="connsiteX0" fmla="*/ 143685 w 143686"/>
                <a:gd name="connsiteY0" fmla="*/ 895310 h 895310"/>
                <a:gd name="connsiteX1" fmla="*/ 24604 w 143686"/>
                <a:gd name="connsiteY1" fmla="*/ 573527 h 895310"/>
                <a:gd name="connsiteX2" fmla="*/ 10350 w 143686"/>
                <a:gd name="connsiteY2" fmla="*/ 447656 h 895310"/>
                <a:gd name="connsiteX3" fmla="*/ 10350 w 143686"/>
                <a:gd name="connsiteY3" fmla="*/ 447654 h 895310"/>
                <a:gd name="connsiteX4" fmla="*/ 22223 w 143686"/>
                <a:gd name="connsiteY4" fmla="*/ 317939 h 895310"/>
                <a:gd name="connsiteX5" fmla="*/ 143686 w 143686"/>
                <a:gd name="connsiteY5" fmla="*/ 0 h 895310"/>
                <a:gd name="connsiteX0" fmla="*/ 143685 w 143686"/>
                <a:gd name="connsiteY0" fmla="*/ 895310 h 895310"/>
                <a:gd name="connsiteX1" fmla="*/ 24604 w 143686"/>
                <a:gd name="connsiteY1" fmla="*/ 573527 h 895310"/>
                <a:gd name="connsiteX2" fmla="*/ 10350 w 143686"/>
                <a:gd name="connsiteY2" fmla="*/ 447656 h 895310"/>
                <a:gd name="connsiteX3" fmla="*/ 10350 w 143686"/>
                <a:gd name="connsiteY3" fmla="*/ 447654 h 895310"/>
                <a:gd name="connsiteX4" fmla="*/ 22223 w 143686"/>
                <a:gd name="connsiteY4" fmla="*/ 317939 h 895310"/>
                <a:gd name="connsiteX5" fmla="*/ 143686 w 143686"/>
                <a:gd name="connsiteY5" fmla="*/ 0 h 895310"/>
                <a:gd name="connsiteX0" fmla="*/ 143685 w 143686"/>
                <a:gd name="connsiteY0" fmla="*/ 895310 h 895310"/>
                <a:gd name="connsiteX1" fmla="*/ 24604 w 143686"/>
                <a:gd name="connsiteY1" fmla="*/ 571146 h 895310"/>
                <a:gd name="connsiteX2" fmla="*/ 10350 w 143686"/>
                <a:gd name="connsiteY2" fmla="*/ 447656 h 895310"/>
                <a:gd name="connsiteX3" fmla="*/ 10350 w 143686"/>
                <a:gd name="connsiteY3" fmla="*/ 447654 h 895310"/>
                <a:gd name="connsiteX4" fmla="*/ 22223 w 143686"/>
                <a:gd name="connsiteY4" fmla="*/ 317939 h 895310"/>
                <a:gd name="connsiteX5" fmla="*/ 143686 w 143686"/>
                <a:gd name="connsiteY5" fmla="*/ 0 h 895310"/>
                <a:gd name="connsiteX0" fmla="*/ 146066 w 146067"/>
                <a:gd name="connsiteY0" fmla="*/ 895310 h 895310"/>
                <a:gd name="connsiteX1" fmla="*/ 22222 w 146067"/>
                <a:gd name="connsiteY1" fmla="*/ 573527 h 895310"/>
                <a:gd name="connsiteX2" fmla="*/ 12731 w 146067"/>
                <a:gd name="connsiteY2" fmla="*/ 447656 h 895310"/>
                <a:gd name="connsiteX3" fmla="*/ 12731 w 146067"/>
                <a:gd name="connsiteY3" fmla="*/ 447654 h 895310"/>
                <a:gd name="connsiteX4" fmla="*/ 24604 w 146067"/>
                <a:gd name="connsiteY4" fmla="*/ 317939 h 895310"/>
                <a:gd name="connsiteX5" fmla="*/ 146067 w 146067"/>
                <a:gd name="connsiteY5" fmla="*/ 0 h 895310"/>
                <a:gd name="connsiteX0" fmla="*/ 143685 w 143686"/>
                <a:gd name="connsiteY0" fmla="*/ 895310 h 895310"/>
                <a:gd name="connsiteX1" fmla="*/ 19841 w 143686"/>
                <a:gd name="connsiteY1" fmla="*/ 573527 h 895310"/>
                <a:gd name="connsiteX2" fmla="*/ 10350 w 143686"/>
                <a:gd name="connsiteY2" fmla="*/ 447656 h 895310"/>
                <a:gd name="connsiteX3" fmla="*/ 10350 w 143686"/>
                <a:gd name="connsiteY3" fmla="*/ 447654 h 895310"/>
                <a:gd name="connsiteX4" fmla="*/ 22223 w 143686"/>
                <a:gd name="connsiteY4" fmla="*/ 317939 h 895310"/>
                <a:gd name="connsiteX5" fmla="*/ 143686 w 143686"/>
                <a:gd name="connsiteY5" fmla="*/ 0 h 895310"/>
                <a:gd name="connsiteX0" fmla="*/ 143685 w 143686"/>
                <a:gd name="connsiteY0" fmla="*/ 895310 h 895310"/>
                <a:gd name="connsiteX1" fmla="*/ 19841 w 143686"/>
                <a:gd name="connsiteY1" fmla="*/ 573527 h 895310"/>
                <a:gd name="connsiteX2" fmla="*/ 10350 w 143686"/>
                <a:gd name="connsiteY2" fmla="*/ 447656 h 895310"/>
                <a:gd name="connsiteX3" fmla="*/ 10350 w 143686"/>
                <a:gd name="connsiteY3" fmla="*/ 447654 h 895310"/>
                <a:gd name="connsiteX4" fmla="*/ 22223 w 143686"/>
                <a:gd name="connsiteY4" fmla="*/ 317939 h 895310"/>
                <a:gd name="connsiteX5" fmla="*/ 143686 w 143686"/>
                <a:gd name="connsiteY5" fmla="*/ 0 h 895310"/>
                <a:gd name="connsiteX0" fmla="*/ 143685 w 143686"/>
                <a:gd name="connsiteY0" fmla="*/ 895310 h 895310"/>
                <a:gd name="connsiteX1" fmla="*/ 19841 w 143686"/>
                <a:gd name="connsiteY1" fmla="*/ 573527 h 895310"/>
                <a:gd name="connsiteX2" fmla="*/ 10350 w 143686"/>
                <a:gd name="connsiteY2" fmla="*/ 447656 h 895310"/>
                <a:gd name="connsiteX3" fmla="*/ 10350 w 143686"/>
                <a:gd name="connsiteY3" fmla="*/ 447654 h 895310"/>
                <a:gd name="connsiteX4" fmla="*/ 22223 w 143686"/>
                <a:gd name="connsiteY4" fmla="*/ 317939 h 895310"/>
                <a:gd name="connsiteX5" fmla="*/ 143686 w 143686"/>
                <a:gd name="connsiteY5" fmla="*/ 0 h 895310"/>
                <a:gd name="connsiteX0" fmla="*/ 148447 w 148448"/>
                <a:gd name="connsiteY0" fmla="*/ 895310 h 895310"/>
                <a:gd name="connsiteX1" fmla="*/ 24603 w 148448"/>
                <a:gd name="connsiteY1" fmla="*/ 573527 h 895310"/>
                <a:gd name="connsiteX2" fmla="*/ 15112 w 148448"/>
                <a:gd name="connsiteY2" fmla="*/ 447656 h 895310"/>
                <a:gd name="connsiteX3" fmla="*/ 15112 w 148448"/>
                <a:gd name="connsiteY3" fmla="*/ 447654 h 895310"/>
                <a:gd name="connsiteX4" fmla="*/ 22223 w 148448"/>
                <a:gd name="connsiteY4" fmla="*/ 327464 h 895310"/>
                <a:gd name="connsiteX5" fmla="*/ 148448 w 148448"/>
                <a:gd name="connsiteY5" fmla="*/ 0 h 895310"/>
                <a:gd name="connsiteX0" fmla="*/ 138922 w 138923"/>
                <a:gd name="connsiteY0" fmla="*/ 895310 h 895310"/>
                <a:gd name="connsiteX1" fmla="*/ 15078 w 138923"/>
                <a:gd name="connsiteY1" fmla="*/ 573527 h 895310"/>
                <a:gd name="connsiteX2" fmla="*/ 5587 w 138923"/>
                <a:gd name="connsiteY2" fmla="*/ 447656 h 895310"/>
                <a:gd name="connsiteX3" fmla="*/ 5587 w 138923"/>
                <a:gd name="connsiteY3" fmla="*/ 447654 h 895310"/>
                <a:gd name="connsiteX4" fmla="*/ 12698 w 138923"/>
                <a:gd name="connsiteY4" fmla="*/ 327464 h 895310"/>
                <a:gd name="connsiteX5" fmla="*/ 138923 w 138923"/>
                <a:gd name="connsiteY5" fmla="*/ 0 h 895310"/>
                <a:gd name="connsiteX0" fmla="*/ 133335 w 133336"/>
                <a:gd name="connsiteY0" fmla="*/ 895310 h 895310"/>
                <a:gd name="connsiteX1" fmla="*/ 9491 w 133336"/>
                <a:gd name="connsiteY1" fmla="*/ 573527 h 895310"/>
                <a:gd name="connsiteX2" fmla="*/ 0 w 133336"/>
                <a:gd name="connsiteY2" fmla="*/ 447656 h 895310"/>
                <a:gd name="connsiteX3" fmla="*/ 0 w 133336"/>
                <a:gd name="connsiteY3" fmla="*/ 447654 h 895310"/>
                <a:gd name="connsiteX4" fmla="*/ 7111 w 133336"/>
                <a:gd name="connsiteY4" fmla="*/ 327464 h 895310"/>
                <a:gd name="connsiteX5" fmla="*/ 133336 w 133336"/>
                <a:gd name="connsiteY5" fmla="*/ 0 h 895310"/>
                <a:gd name="connsiteX0" fmla="*/ 134160 w 134161"/>
                <a:gd name="connsiteY0" fmla="*/ 895310 h 895310"/>
                <a:gd name="connsiteX1" fmla="*/ 10316 w 134161"/>
                <a:gd name="connsiteY1" fmla="*/ 573527 h 895310"/>
                <a:gd name="connsiteX2" fmla="*/ 825 w 134161"/>
                <a:gd name="connsiteY2" fmla="*/ 447656 h 895310"/>
                <a:gd name="connsiteX3" fmla="*/ 825 w 134161"/>
                <a:gd name="connsiteY3" fmla="*/ 447654 h 895310"/>
                <a:gd name="connsiteX4" fmla="*/ 7936 w 134161"/>
                <a:gd name="connsiteY4" fmla="*/ 327464 h 895310"/>
                <a:gd name="connsiteX5" fmla="*/ 134161 w 134161"/>
                <a:gd name="connsiteY5" fmla="*/ 0 h 895310"/>
                <a:gd name="connsiteX0" fmla="*/ 134160 w 134161"/>
                <a:gd name="connsiteY0" fmla="*/ 895310 h 895310"/>
                <a:gd name="connsiteX1" fmla="*/ 10316 w 134161"/>
                <a:gd name="connsiteY1" fmla="*/ 573527 h 895310"/>
                <a:gd name="connsiteX2" fmla="*/ 825 w 134161"/>
                <a:gd name="connsiteY2" fmla="*/ 447656 h 895310"/>
                <a:gd name="connsiteX3" fmla="*/ 825 w 134161"/>
                <a:gd name="connsiteY3" fmla="*/ 447654 h 895310"/>
                <a:gd name="connsiteX4" fmla="*/ 7936 w 134161"/>
                <a:gd name="connsiteY4" fmla="*/ 327464 h 895310"/>
                <a:gd name="connsiteX5" fmla="*/ 134161 w 134161"/>
                <a:gd name="connsiteY5" fmla="*/ 0 h 895310"/>
                <a:gd name="connsiteX0" fmla="*/ 134160 w 134160"/>
                <a:gd name="connsiteY0" fmla="*/ 567846 h 567846"/>
                <a:gd name="connsiteX1" fmla="*/ 10316 w 134160"/>
                <a:gd name="connsiteY1" fmla="*/ 246063 h 567846"/>
                <a:gd name="connsiteX2" fmla="*/ 825 w 134160"/>
                <a:gd name="connsiteY2" fmla="*/ 120192 h 567846"/>
                <a:gd name="connsiteX3" fmla="*/ 825 w 134160"/>
                <a:gd name="connsiteY3" fmla="*/ 120190 h 567846"/>
                <a:gd name="connsiteX4" fmla="*/ 7936 w 134160"/>
                <a:gd name="connsiteY4" fmla="*/ 0 h 567846"/>
                <a:gd name="connsiteX0" fmla="*/ 134160 w 152401"/>
                <a:gd name="connsiteY0" fmla="*/ 567846 h 619574"/>
                <a:gd name="connsiteX1" fmla="*/ 131760 w 152401"/>
                <a:gd name="connsiteY1" fmla="*/ 565944 h 619574"/>
                <a:gd name="connsiteX2" fmla="*/ 10316 w 152401"/>
                <a:gd name="connsiteY2" fmla="*/ 246063 h 619574"/>
                <a:gd name="connsiteX3" fmla="*/ 825 w 152401"/>
                <a:gd name="connsiteY3" fmla="*/ 120192 h 619574"/>
                <a:gd name="connsiteX4" fmla="*/ 825 w 152401"/>
                <a:gd name="connsiteY4" fmla="*/ 120190 h 619574"/>
                <a:gd name="connsiteX5" fmla="*/ 7936 w 152401"/>
                <a:gd name="connsiteY5" fmla="*/ 0 h 619574"/>
                <a:gd name="connsiteX0" fmla="*/ 134160 w 134160"/>
                <a:gd name="connsiteY0" fmla="*/ 567846 h 567846"/>
                <a:gd name="connsiteX1" fmla="*/ 10316 w 134160"/>
                <a:gd name="connsiteY1" fmla="*/ 246063 h 567846"/>
                <a:gd name="connsiteX2" fmla="*/ 825 w 134160"/>
                <a:gd name="connsiteY2" fmla="*/ 120192 h 567846"/>
                <a:gd name="connsiteX3" fmla="*/ 825 w 134160"/>
                <a:gd name="connsiteY3" fmla="*/ 120190 h 567846"/>
                <a:gd name="connsiteX4" fmla="*/ 7936 w 134160"/>
                <a:gd name="connsiteY4" fmla="*/ 0 h 567846"/>
                <a:gd name="connsiteX0" fmla="*/ 10316 w 10316"/>
                <a:gd name="connsiteY0" fmla="*/ 246063 h 246063"/>
                <a:gd name="connsiteX1" fmla="*/ 825 w 10316"/>
                <a:gd name="connsiteY1" fmla="*/ 120192 h 246063"/>
                <a:gd name="connsiteX2" fmla="*/ 825 w 10316"/>
                <a:gd name="connsiteY2" fmla="*/ 120190 h 246063"/>
                <a:gd name="connsiteX3" fmla="*/ 7936 w 10316"/>
                <a:gd name="connsiteY3" fmla="*/ 0 h 246063"/>
                <a:gd name="connsiteX0" fmla="*/ 10316 w 10316"/>
                <a:gd name="connsiteY0" fmla="*/ 246063 h 246063"/>
                <a:gd name="connsiteX1" fmla="*/ 825 w 10316"/>
                <a:gd name="connsiteY1" fmla="*/ 120192 h 246063"/>
                <a:gd name="connsiteX2" fmla="*/ 825 w 10316"/>
                <a:gd name="connsiteY2" fmla="*/ 120190 h 246063"/>
                <a:gd name="connsiteX3" fmla="*/ 7936 w 10316"/>
                <a:gd name="connsiteY3" fmla="*/ 0 h 246063"/>
                <a:gd name="connsiteX0" fmla="*/ 10316 w 10316"/>
                <a:gd name="connsiteY0" fmla="*/ 246063 h 246063"/>
                <a:gd name="connsiteX1" fmla="*/ 825 w 10316"/>
                <a:gd name="connsiteY1" fmla="*/ 120192 h 246063"/>
                <a:gd name="connsiteX2" fmla="*/ 825 w 10316"/>
                <a:gd name="connsiteY2" fmla="*/ 120190 h 246063"/>
                <a:gd name="connsiteX3" fmla="*/ 7936 w 10316"/>
                <a:gd name="connsiteY3" fmla="*/ 0 h 246063"/>
                <a:gd name="connsiteX0" fmla="*/ 19841 w 19841"/>
                <a:gd name="connsiteY0" fmla="*/ 286544 h 286544"/>
                <a:gd name="connsiteX1" fmla="*/ 825 w 19841"/>
                <a:gd name="connsiteY1" fmla="*/ 120192 h 286544"/>
                <a:gd name="connsiteX2" fmla="*/ 825 w 19841"/>
                <a:gd name="connsiteY2" fmla="*/ 120190 h 286544"/>
                <a:gd name="connsiteX3" fmla="*/ 7936 w 19841"/>
                <a:gd name="connsiteY3" fmla="*/ 0 h 286544"/>
                <a:gd name="connsiteX0" fmla="*/ 19016 w 19016"/>
                <a:gd name="connsiteY0" fmla="*/ 286544 h 286544"/>
                <a:gd name="connsiteX1" fmla="*/ 0 w 19016"/>
                <a:gd name="connsiteY1" fmla="*/ 120192 h 286544"/>
                <a:gd name="connsiteX2" fmla="*/ 7111 w 19016"/>
                <a:gd name="connsiteY2" fmla="*/ 0 h 286544"/>
                <a:gd name="connsiteX0" fmla="*/ 11905 w 11905"/>
                <a:gd name="connsiteY0" fmla="*/ 286544 h 286544"/>
                <a:gd name="connsiteX1" fmla="*/ 0 w 11905"/>
                <a:gd name="connsiteY1" fmla="*/ 0 h 286544"/>
                <a:gd name="connsiteX0" fmla="*/ 9523 w 9523"/>
                <a:gd name="connsiteY0" fmla="*/ 303213 h 303213"/>
                <a:gd name="connsiteX1" fmla="*/ 0 w 9523"/>
                <a:gd name="connsiteY1" fmla="*/ 0 h 303213"/>
                <a:gd name="connsiteX0" fmla="*/ 0 w 2"/>
                <a:gd name="connsiteY0" fmla="*/ 10157 h 10157"/>
                <a:gd name="connsiteX1" fmla="*/ 2 w 2"/>
                <a:gd name="connsiteY1" fmla="*/ 0 h 10157"/>
                <a:gd name="connsiteX0" fmla="*/ 95245000 w 95255000"/>
                <a:gd name="connsiteY0" fmla="*/ 10000 h 10000"/>
                <a:gd name="connsiteX1" fmla="*/ 95255000 w 95255000"/>
                <a:gd name="connsiteY1" fmla="*/ 0 h 10000"/>
                <a:gd name="connsiteX0" fmla="*/ 119060000 w 119070000"/>
                <a:gd name="connsiteY0" fmla="*/ 10000 h 10000"/>
                <a:gd name="connsiteX1" fmla="*/ 119070000 w 119070000"/>
                <a:gd name="connsiteY1" fmla="*/ 0 h 10000"/>
                <a:gd name="connsiteX0" fmla="*/ 119060000 w 119070000"/>
                <a:gd name="connsiteY0" fmla="*/ 10000 h 10000"/>
                <a:gd name="connsiteX1" fmla="*/ 119070000 w 119070000"/>
                <a:gd name="connsiteY1" fmla="*/ 0 h 10000"/>
                <a:gd name="connsiteX0" fmla="*/ 142875000 w 142885000"/>
                <a:gd name="connsiteY0" fmla="*/ 10000 h 10000"/>
                <a:gd name="connsiteX1" fmla="*/ 142885000 w 142885000"/>
                <a:gd name="connsiteY1" fmla="*/ 0 h 10000"/>
                <a:gd name="connsiteX0" fmla="*/ 142875000 w 142885000"/>
                <a:gd name="connsiteY0" fmla="*/ 10000 h 10000"/>
                <a:gd name="connsiteX1" fmla="*/ 142885000 w 142885000"/>
                <a:gd name="connsiteY1" fmla="*/ 0 h 10000"/>
                <a:gd name="connsiteX0" fmla="*/ 35705000 w 35705000"/>
                <a:gd name="connsiteY0" fmla="*/ 8299 h 8299"/>
                <a:gd name="connsiteX1" fmla="*/ 0 w 35705000"/>
                <a:gd name="connsiteY1" fmla="*/ 0 h 8299"/>
                <a:gd name="connsiteX0" fmla="*/ 63355 w 63355"/>
                <a:gd name="connsiteY0" fmla="*/ 10000 h 10000"/>
                <a:gd name="connsiteX1" fmla="*/ 53355 w 63355"/>
                <a:gd name="connsiteY1" fmla="*/ 0 h 10000"/>
                <a:gd name="connsiteX0" fmla="*/ 63355 w 63355"/>
                <a:gd name="connsiteY0" fmla="*/ 10000 h 10000"/>
                <a:gd name="connsiteX1" fmla="*/ 53355 w 63355"/>
                <a:gd name="connsiteY1" fmla="*/ 0 h 10000"/>
              </a:gdLst>
              <a:ahLst/>
              <a:cxnLst>
                <a:cxn ang="0">
                  <a:pos x="connsiteX0" y="connsiteY0"/>
                </a:cxn>
                <a:cxn ang="0">
                  <a:pos x="connsiteX1" y="connsiteY1"/>
                </a:cxn>
              </a:cxnLst>
              <a:rect l="l" t="t" r="r" b="b"/>
              <a:pathLst>
                <a:path w="63355" h="10000">
                  <a:moveTo>
                    <a:pt x="63355" y="10000"/>
                  </a:moveTo>
                  <a:cubicBezTo>
                    <a:pt x="13337" y="7133"/>
                    <a:pt x="0" y="3799"/>
                    <a:pt x="53355" y="0"/>
                  </a:cubicBezTo>
                </a:path>
              </a:pathLst>
            </a:custGeom>
            <a:noFill/>
            <a:ln w="19050" cap="rnd" cmpd="sng" algn="ctr">
              <a:solidFill>
                <a:schemeClr val="bg1"/>
              </a:solidFill>
              <a:prstDash val="solid"/>
            </a:ln>
            <a:effectLst/>
          </p:spPr>
          <p:txBody>
            <a:bodyPr wrap="none" lIns="0" tIns="91440" rIns="0" bIns="91440" anchor="ctr"/>
            <a:lstStyle/>
            <a:p>
              <a:pPr marL="0" marR="0" lvl="0" indent="0" algn="ctr" defTabSz="957756" rtl="0" eaLnBrk="1" fontAlgn="auto" latinLnBrk="0" hangingPunct="1">
                <a:lnSpc>
                  <a:spcPct val="100000"/>
                </a:lnSpc>
                <a:spcBef>
                  <a:spcPts val="0"/>
                </a:spcBef>
                <a:spcAft>
                  <a:spcPts val="600"/>
                </a:spcAft>
                <a:buClrTx/>
                <a:buSzTx/>
                <a:buFontTx/>
                <a:buNone/>
                <a:tabLst/>
                <a:defRPr/>
              </a:pPr>
              <a:endParaRPr kumimoji="0" lang="en-US" sz="300" b="1"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sp>
        <p:nvSpPr>
          <p:cNvPr id="41" name="Oval 40">
            <a:extLst>
              <a:ext uri="{FF2B5EF4-FFF2-40B4-BE49-F238E27FC236}">
                <a16:creationId xmlns:a16="http://schemas.microsoft.com/office/drawing/2014/main" id="{04201BBB-1770-19E6-01FC-564465C24DE7}"/>
              </a:ext>
            </a:extLst>
          </p:cNvPr>
          <p:cNvSpPr/>
          <p:nvPr/>
        </p:nvSpPr>
        <p:spPr>
          <a:xfrm>
            <a:off x="10672892" y="2762120"/>
            <a:ext cx="527858" cy="504017"/>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42" name="Group 41">
            <a:extLst>
              <a:ext uri="{FF2B5EF4-FFF2-40B4-BE49-F238E27FC236}">
                <a16:creationId xmlns:a16="http://schemas.microsoft.com/office/drawing/2014/main" id="{ABAA669B-7598-6961-4488-AF46BB54793C}"/>
              </a:ext>
            </a:extLst>
          </p:cNvPr>
          <p:cNvGrpSpPr/>
          <p:nvPr/>
        </p:nvGrpSpPr>
        <p:grpSpPr>
          <a:xfrm>
            <a:off x="10784933" y="2866953"/>
            <a:ext cx="306797" cy="321772"/>
            <a:chOff x="3564851" y="4281797"/>
            <a:chExt cx="403225" cy="442912"/>
          </a:xfrm>
        </p:grpSpPr>
        <p:sp>
          <p:nvSpPr>
            <p:cNvPr id="43" name="Freeform 355">
              <a:extLst>
                <a:ext uri="{FF2B5EF4-FFF2-40B4-BE49-F238E27FC236}">
                  <a16:creationId xmlns:a16="http://schemas.microsoft.com/office/drawing/2014/main" id="{C2215C8E-D55B-29E2-4502-0EEDA14986E0}"/>
                </a:ext>
              </a:extLst>
            </p:cNvPr>
            <p:cNvSpPr>
              <a:spLocks/>
            </p:cNvSpPr>
            <p:nvPr/>
          </p:nvSpPr>
          <p:spPr bwMode="auto">
            <a:xfrm>
              <a:off x="3564851" y="4378634"/>
              <a:ext cx="357188" cy="346075"/>
            </a:xfrm>
            <a:custGeom>
              <a:avLst/>
              <a:gdLst/>
              <a:ahLst/>
              <a:cxnLst>
                <a:cxn ang="0">
                  <a:pos x="80" y="171"/>
                </a:cxn>
                <a:cxn ang="0">
                  <a:pos x="91" y="162"/>
                </a:cxn>
                <a:cxn ang="0">
                  <a:pos x="101" y="110"/>
                </a:cxn>
                <a:cxn ang="0">
                  <a:pos x="103" y="137"/>
                </a:cxn>
                <a:cxn ang="0">
                  <a:pos x="106" y="169"/>
                </a:cxn>
                <a:cxn ang="0">
                  <a:pos x="117" y="169"/>
                </a:cxn>
                <a:cxn ang="0">
                  <a:pos x="112" y="107"/>
                </a:cxn>
                <a:cxn ang="0">
                  <a:pos x="152" y="107"/>
                </a:cxn>
                <a:cxn ang="0">
                  <a:pos x="161" y="102"/>
                </a:cxn>
                <a:cxn ang="0">
                  <a:pos x="172" y="84"/>
                </a:cxn>
                <a:cxn ang="0">
                  <a:pos x="172" y="24"/>
                </a:cxn>
                <a:cxn ang="0">
                  <a:pos x="145" y="5"/>
                </a:cxn>
                <a:cxn ang="0">
                  <a:pos x="132" y="26"/>
                </a:cxn>
                <a:cxn ang="0">
                  <a:pos x="133" y="25"/>
                </a:cxn>
                <a:cxn ang="0">
                  <a:pos x="145" y="17"/>
                </a:cxn>
                <a:cxn ang="0">
                  <a:pos x="145" y="17"/>
                </a:cxn>
                <a:cxn ang="0">
                  <a:pos x="145" y="17"/>
                </a:cxn>
                <a:cxn ang="0">
                  <a:pos x="145" y="17"/>
                </a:cxn>
                <a:cxn ang="0">
                  <a:pos x="156" y="15"/>
                </a:cxn>
                <a:cxn ang="0">
                  <a:pos x="158" y="26"/>
                </a:cxn>
                <a:cxn ang="0">
                  <a:pos x="144" y="38"/>
                </a:cxn>
                <a:cxn ang="0">
                  <a:pos x="134" y="42"/>
                </a:cxn>
                <a:cxn ang="0">
                  <a:pos x="133" y="76"/>
                </a:cxn>
                <a:cxn ang="0">
                  <a:pos x="133" y="85"/>
                </a:cxn>
                <a:cxn ang="0">
                  <a:pos x="109" y="85"/>
                </a:cxn>
                <a:cxn ang="0">
                  <a:pos x="107" y="79"/>
                </a:cxn>
                <a:cxn ang="0">
                  <a:pos x="111" y="79"/>
                </a:cxn>
                <a:cxn ang="0">
                  <a:pos x="114" y="76"/>
                </a:cxn>
                <a:cxn ang="0">
                  <a:pos x="114" y="66"/>
                </a:cxn>
                <a:cxn ang="0">
                  <a:pos x="111" y="63"/>
                </a:cxn>
                <a:cxn ang="0">
                  <a:pos x="6" y="63"/>
                </a:cxn>
                <a:cxn ang="0">
                  <a:pos x="3" y="66"/>
                </a:cxn>
                <a:cxn ang="0">
                  <a:pos x="3" y="76"/>
                </a:cxn>
                <a:cxn ang="0">
                  <a:pos x="6" y="79"/>
                </a:cxn>
                <a:cxn ang="0">
                  <a:pos x="10" y="79"/>
                </a:cxn>
                <a:cxn ang="0">
                  <a:pos x="7" y="88"/>
                </a:cxn>
                <a:cxn ang="0">
                  <a:pos x="0" y="169"/>
                </a:cxn>
                <a:cxn ang="0">
                  <a:pos x="11" y="169"/>
                </a:cxn>
                <a:cxn ang="0">
                  <a:pos x="13" y="137"/>
                </a:cxn>
                <a:cxn ang="0">
                  <a:pos x="18" y="89"/>
                </a:cxn>
                <a:cxn ang="0">
                  <a:pos x="20" y="83"/>
                </a:cxn>
                <a:cxn ang="0">
                  <a:pos x="26" y="79"/>
                </a:cxn>
                <a:cxn ang="0">
                  <a:pos x="90" y="79"/>
                </a:cxn>
                <a:cxn ang="0">
                  <a:pos x="96" y="83"/>
                </a:cxn>
                <a:cxn ang="0">
                  <a:pos x="97" y="85"/>
                </a:cxn>
                <a:cxn ang="0">
                  <a:pos x="92" y="85"/>
                </a:cxn>
                <a:cxn ang="0">
                  <a:pos x="81" y="94"/>
                </a:cxn>
                <a:cxn ang="0">
                  <a:pos x="70" y="158"/>
                </a:cxn>
              </a:cxnLst>
              <a:rect l="0" t="0" r="r" b="b"/>
              <a:pathLst>
                <a:path w="176" h="171">
                  <a:moveTo>
                    <a:pt x="80" y="171"/>
                  </a:moveTo>
                  <a:cubicBezTo>
                    <a:pt x="86" y="171"/>
                    <a:pt x="90" y="167"/>
                    <a:pt x="91" y="162"/>
                  </a:cubicBezTo>
                  <a:cubicBezTo>
                    <a:pt x="101" y="110"/>
                    <a:pt x="101" y="110"/>
                    <a:pt x="101" y="110"/>
                  </a:cubicBezTo>
                  <a:cubicBezTo>
                    <a:pt x="102" y="118"/>
                    <a:pt x="103" y="127"/>
                    <a:pt x="103" y="137"/>
                  </a:cubicBezTo>
                  <a:cubicBezTo>
                    <a:pt x="104" y="151"/>
                    <a:pt x="105" y="163"/>
                    <a:pt x="106" y="169"/>
                  </a:cubicBezTo>
                  <a:cubicBezTo>
                    <a:pt x="117" y="169"/>
                    <a:pt x="117" y="169"/>
                    <a:pt x="117" y="169"/>
                  </a:cubicBezTo>
                  <a:cubicBezTo>
                    <a:pt x="116" y="159"/>
                    <a:pt x="114" y="129"/>
                    <a:pt x="112" y="107"/>
                  </a:cubicBezTo>
                  <a:cubicBezTo>
                    <a:pt x="152" y="107"/>
                    <a:pt x="152" y="107"/>
                    <a:pt x="152" y="107"/>
                  </a:cubicBezTo>
                  <a:cubicBezTo>
                    <a:pt x="155" y="107"/>
                    <a:pt x="159" y="105"/>
                    <a:pt x="161" y="102"/>
                  </a:cubicBezTo>
                  <a:cubicBezTo>
                    <a:pt x="166" y="99"/>
                    <a:pt x="170" y="93"/>
                    <a:pt x="172" y="84"/>
                  </a:cubicBezTo>
                  <a:cubicBezTo>
                    <a:pt x="176" y="65"/>
                    <a:pt x="176" y="44"/>
                    <a:pt x="172" y="24"/>
                  </a:cubicBezTo>
                  <a:cubicBezTo>
                    <a:pt x="169" y="9"/>
                    <a:pt x="155" y="0"/>
                    <a:pt x="145" y="5"/>
                  </a:cubicBezTo>
                  <a:cubicBezTo>
                    <a:pt x="137" y="9"/>
                    <a:pt x="133" y="17"/>
                    <a:pt x="132" y="26"/>
                  </a:cubicBezTo>
                  <a:cubicBezTo>
                    <a:pt x="133" y="26"/>
                    <a:pt x="133" y="26"/>
                    <a:pt x="133" y="25"/>
                  </a:cubicBezTo>
                  <a:cubicBezTo>
                    <a:pt x="141" y="22"/>
                    <a:pt x="144" y="18"/>
                    <a:pt x="145" y="17"/>
                  </a:cubicBezTo>
                  <a:cubicBezTo>
                    <a:pt x="145" y="17"/>
                    <a:pt x="145" y="17"/>
                    <a:pt x="145" y="17"/>
                  </a:cubicBezTo>
                  <a:cubicBezTo>
                    <a:pt x="145" y="17"/>
                    <a:pt x="145" y="17"/>
                    <a:pt x="145" y="17"/>
                  </a:cubicBezTo>
                  <a:cubicBezTo>
                    <a:pt x="145" y="17"/>
                    <a:pt x="145" y="17"/>
                    <a:pt x="145" y="17"/>
                  </a:cubicBezTo>
                  <a:cubicBezTo>
                    <a:pt x="147" y="13"/>
                    <a:pt x="152" y="12"/>
                    <a:pt x="156" y="15"/>
                  </a:cubicBezTo>
                  <a:cubicBezTo>
                    <a:pt x="160" y="17"/>
                    <a:pt x="160" y="22"/>
                    <a:pt x="158" y="26"/>
                  </a:cubicBezTo>
                  <a:cubicBezTo>
                    <a:pt x="157" y="27"/>
                    <a:pt x="153" y="33"/>
                    <a:pt x="144" y="38"/>
                  </a:cubicBezTo>
                  <a:cubicBezTo>
                    <a:pt x="141" y="40"/>
                    <a:pt x="138" y="41"/>
                    <a:pt x="134" y="42"/>
                  </a:cubicBezTo>
                  <a:cubicBezTo>
                    <a:pt x="136" y="54"/>
                    <a:pt x="135" y="65"/>
                    <a:pt x="133" y="76"/>
                  </a:cubicBezTo>
                  <a:cubicBezTo>
                    <a:pt x="132" y="79"/>
                    <a:pt x="132" y="82"/>
                    <a:pt x="133" y="85"/>
                  </a:cubicBezTo>
                  <a:cubicBezTo>
                    <a:pt x="109" y="85"/>
                    <a:pt x="109" y="85"/>
                    <a:pt x="109" y="85"/>
                  </a:cubicBezTo>
                  <a:cubicBezTo>
                    <a:pt x="109" y="83"/>
                    <a:pt x="108" y="81"/>
                    <a:pt x="107" y="79"/>
                  </a:cubicBezTo>
                  <a:cubicBezTo>
                    <a:pt x="111" y="79"/>
                    <a:pt x="111" y="79"/>
                    <a:pt x="111" y="79"/>
                  </a:cubicBezTo>
                  <a:cubicBezTo>
                    <a:pt x="113" y="79"/>
                    <a:pt x="114" y="78"/>
                    <a:pt x="114" y="76"/>
                  </a:cubicBezTo>
                  <a:cubicBezTo>
                    <a:pt x="114" y="66"/>
                    <a:pt x="114" y="66"/>
                    <a:pt x="114" y="66"/>
                  </a:cubicBezTo>
                  <a:cubicBezTo>
                    <a:pt x="114" y="65"/>
                    <a:pt x="113" y="63"/>
                    <a:pt x="111" y="63"/>
                  </a:cubicBezTo>
                  <a:cubicBezTo>
                    <a:pt x="6" y="63"/>
                    <a:pt x="6" y="63"/>
                    <a:pt x="6" y="63"/>
                  </a:cubicBezTo>
                  <a:cubicBezTo>
                    <a:pt x="4" y="63"/>
                    <a:pt x="3" y="65"/>
                    <a:pt x="3" y="66"/>
                  </a:cubicBezTo>
                  <a:cubicBezTo>
                    <a:pt x="3" y="76"/>
                    <a:pt x="3" y="76"/>
                    <a:pt x="3" y="76"/>
                  </a:cubicBezTo>
                  <a:cubicBezTo>
                    <a:pt x="3" y="78"/>
                    <a:pt x="4" y="79"/>
                    <a:pt x="6" y="79"/>
                  </a:cubicBezTo>
                  <a:cubicBezTo>
                    <a:pt x="10" y="79"/>
                    <a:pt x="10" y="79"/>
                    <a:pt x="10" y="79"/>
                  </a:cubicBezTo>
                  <a:cubicBezTo>
                    <a:pt x="8" y="82"/>
                    <a:pt x="7" y="85"/>
                    <a:pt x="7" y="88"/>
                  </a:cubicBezTo>
                  <a:cubicBezTo>
                    <a:pt x="5" y="106"/>
                    <a:pt x="1" y="155"/>
                    <a:pt x="0" y="169"/>
                  </a:cubicBezTo>
                  <a:cubicBezTo>
                    <a:pt x="11" y="169"/>
                    <a:pt x="11" y="169"/>
                    <a:pt x="11" y="169"/>
                  </a:cubicBezTo>
                  <a:cubicBezTo>
                    <a:pt x="11" y="163"/>
                    <a:pt x="12" y="151"/>
                    <a:pt x="13" y="137"/>
                  </a:cubicBezTo>
                  <a:cubicBezTo>
                    <a:pt x="15" y="118"/>
                    <a:pt x="17" y="99"/>
                    <a:pt x="18" y="89"/>
                  </a:cubicBezTo>
                  <a:cubicBezTo>
                    <a:pt x="18" y="86"/>
                    <a:pt x="19" y="85"/>
                    <a:pt x="20" y="83"/>
                  </a:cubicBezTo>
                  <a:cubicBezTo>
                    <a:pt x="21" y="82"/>
                    <a:pt x="24" y="80"/>
                    <a:pt x="26" y="79"/>
                  </a:cubicBezTo>
                  <a:cubicBezTo>
                    <a:pt x="90" y="79"/>
                    <a:pt x="90" y="79"/>
                    <a:pt x="90" y="79"/>
                  </a:cubicBezTo>
                  <a:cubicBezTo>
                    <a:pt x="93" y="80"/>
                    <a:pt x="95" y="82"/>
                    <a:pt x="96" y="83"/>
                  </a:cubicBezTo>
                  <a:cubicBezTo>
                    <a:pt x="97" y="84"/>
                    <a:pt x="97" y="84"/>
                    <a:pt x="97" y="85"/>
                  </a:cubicBezTo>
                  <a:cubicBezTo>
                    <a:pt x="92" y="85"/>
                    <a:pt x="92" y="85"/>
                    <a:pt x="92" y="85"/>
                  </a:cubicBezTo>
                  <a:cubicBezTo>
                    <a:pt x="87" y="85"/>
                    <a:pt x="82" y="88"/>
                    <a:pt x="81" y="94"/>
                  </a:cubicBezTo>
                  <a:cubicBezTo>
                    <a:pt x="70" y="158"/>
                    <a:pt x="70" y="158"/>
                    <a:pt x="70" y="158"/>
                  </a:cubicBezTo>
                </a:path>
              </a:pathLst>
            </a:custGeom>
            <a:noFill/>
            <a:ln w="12700"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44" name="Freeform 356">
              <a:extLst>
                <a:ext uri="{FF2B5EF4-FFF2-40B4-BE49-F238E27FC236}">
                  <a16:creationId xmlns:a16="http://schemas.microsoft.com/office/drawing/2014/main" id="{CE15A697-FFC6-F452-13C8-BDFB965B6246}"/>
                </a:ext>
              </a:extLst>
            </p:cNvPr>
            <p:cNvSpPr>
              <a:spLocks/>
            </p:cNvSpPr>
            <p:nvPr/>
          </p:nvSpPr>
          <p:spPr bwMode="auto">
            <a:xfrm>
              <a:off x="3604539" y="4359584"/>
              <a:ext cx="169862" cy="141288"/>
            </a:xfrm>
            <a:custGeom>
              <a:avLst/>
              <a:gdLst/>
              <a:ahLst/>
              <a:cxnLst>
                <a:cxn ang="0">
                  <a:pos x="17" y="70"/>
                </a:cxn>
                <a:cxn ang="0">
                  <a:pos x="81" y="70"/>
                </a:cxn>
                <a:cxn ang="0">
                  <a:pos x="83" y="68"/>
                </a:cxn>
                <a:cxn ang="0">
                  <a:pos x="83" y="64"/>
                </a:cxn>
                <a:cxn ang="0">
                  <a:pos x="81" y="62"/>
                </a:cxn>
                <a:cxn ang="0">
                  <a:pos x="29" y="62"/>
                </a:cxn>
                <a:cxn ang="0">
                  <a:pos x="29" y="61"/>
                </a:cxn>
                <a:cxn ang="0">
                  <a:pos x="8" y="2"/>
                </a:cxn>
                <a:cxn ang="0">
                  <a:pos x="5" y="0"/>
                </a:cxn>
                <a:cxn ang="0">
                  <a:pos x="2" y="1"/>
                </a:cxn>
                <a:cxn ang="0">
                  <a:pos x="0" y="4"/>
                </a:cxn>
                <a:cxn ang="0">
                  <a:pos x="20" y="62"/>
                </a:cxn>
                <a:cxn ang="0">
                  <a:pos x="17" y="62"/>
                </a:cxn>
              </a:cxnLst>
              <a:rect l="0" t="0" r="r" b="b"/>
              <a:pathLst>
                <a:path w="83" h="70">
                  <a:moveTo>
                    <a:pt x="17" y="70"/>
                  </a:moveTo>
                  <a:cubicBezTo>
                    <a:pt x="81" y="70"/>
                    <a:pt x="81" y="70"/>
                    <a:pt x="81" y="70"/>
                  </a:cubicBezTo>
                  <a:cubicBezTo>
                    <a:pt x="82" y="70"/>
                    <a:pt x="83" y="69"/>
                    <a:pt x="83" y="68"/>
                  </a:cubicBezTo>
                  <a:cubicBezTo>
                    <a:pt x="83" y="64"/>
                    <a:pt x="83" y="64"/>
                    <a:pt x="83" y="64"/>
                  </a:cubicBezTo>
                  <a:cubicBezTo>
                    <a:pt x="83" y="63"/>
                    <a:pt x="82" y="62"/>
                    <a:pt x="81" y="62"/>
                  </a:cubicBezTo>
                  <a:cubicBezTo>
                    <a:pt x="29" y="62"/>
                    <a:pt x="29" y="62"/>
                    <a:pt x="29" y="62"/>
                  </a:cubicBezTo>
                  <a:cubicBezTo>
                    <a:pt x="29" y="62"/>
                    <a:pt x="29" y="61"/>
                    <a:pt x="29" y="61"/>
                  </a:cubicBezTo>
                  <a:cubicBezTo>
                    <a:pt x="8" y="2"/>
                    <a:pt x="8" y="2"/>
                    <a:pt x="8" y="2"/>
                  </a:cubicBezTo>
                  <a:cubicBezTo>
                    <a:pt x="8" y="0"/>
                    <a:pt x="6" y="0"/>
                    <a:pt x="5" y="0"/>
                  </a:cubicBezTo>
                  <a:cubicBezTo>
                    <a:pt x="2" y="1"/>
                    <a:pt x="2" y="1"/>
                    <a:pt x="2" y="1"/>
                  </a:cubicBezTo>
                  <a:cubicBezTo>
                    <a:pt x="1" y="2"/>
                    <a:pt x="0" y="3"/>
                    <a:pt x="0" y="4"/>
                  </a:cubicBezTo>
                  <a:cubicBezTo>
                    <a:pt x="20" y="62"/>
                    <a:pt x="20" y="62"/>
                    <a:pt x="20" y="62"/>
                  </a:cubicBezTo>
                  <a:cubicBezTo>
                    <a:pt x="17" y="62"/>
                    <a:pt x="17" y="62"/>
                    <a:pt x="17" y="62"/>
                  </a:cubicBezTo>
                </a:path>
              </a:pathLst>
            </a:custGeom>
            <a:noFill/>
            <a:ln w="12700"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45" name="Freeform 357">
              <a:extLst>
                <a:ext uri="{FF2B5EF4-FFF2-40B4-BE49-F238E27FC236}">
                  <a16:creationId xmlns:a16="http://schemas.microsoft.com/office/drawing/2014/main" id="{EE3BC14D-E42B-99C6-E005-07C0E879DB8D}"/>
                </a:ext>
              </a:extLst>
            </p:cNvPr>
            <p:cNvSpPr>
              <a:spLocks/>
            </p:cNvSpPr>
            <p:nvPr/>
          </p:nvSpPr>
          <p:spPr bwMode="auto">
            <a:xfrm>
              <a:off x="3793451" y="4281797"/>
              <a:ext cx="100013" cy="101600"/>
            </a:xfrm>
            <a:custGeom>
              <a:avLst/>
              <a:gdLst/>
              <a:ahLst/>
              <a:cxnLst>
                <a:cxn ang="0">
                  <a:pos x="30" y="47"/>
                </a:cxn>
                <a:cxn ang="0">
                  <a:pos x="46" y="20"/>
                </a:cxn>
                <a:cxn ang="0">
                  <a:pos x="19" y="3"/>
                </a:cxn>
                <a:cxn ang="0">
                  <a:pos x="3" y="30"/>
                </a:cxn>
                <a:cxn ang="0">
                  <a:pos x="30" y="47"/>
                </a:cxn>
              </a:cxnLst>
              <a:rect l="0" t="0" r="r" b="b"/>
              <a:pathLst>
                <a:path w="49" h="50">
                  <a:moveTo>
                    <a:pt x="30" y="47"/>
                  </a:moveTo>
                  <a:cubicBezTo>
                    <a:pt x="42" y="44"/>
                    <a:pt x="49" y="32"/>
                    <a:pt x="46" y="20"/>
                  </a:cubicBezTo>
                  <a:cubicBezTo>
                    <a:pt x="44" y="7"/>
                    <a:pt x="32" y="0"/>
                    <a:pt x="19" y="3"/>
                  </a:cubicBezTo>
                  <a:cubicBezTo>
                    <a:pt x="7" y="5"/>
                    <a:pt x="0" y="18"/>
                    <a:pt x="3" y="30"/>
                  </a:cubicBezTo>
                  <a:cubicBezTo>
                    <a:pt x="5" y="42"/>
                    <a:pt x="18" y="50"/>
                    <a:pt x="30" y="47"/>
                  </a:cubicBezTo>
                  <a:close/>
                </a:path>
              </a:pathLst>
            </a:custGeom>
            <a:noFill/>
            <a:ln w="12700"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46" name="Freeform 358">
              <a:extLst>
                <a:ext uri="{FF2B5EF4-FFF2-40B4-BE49-F238E27FC236}">
                  <a16:creationId xmlns:a16="http://schemas.microsoft.com/office/drawing/2014/main" id="{6887CB61-BA91-1F7E-F3EB-E8CC1F505791}"/>
                </a:ext>
              </a:extLst>
            </p:cNvPr>
            <p:cNvSpPr>
              <a:spLocks/>
            </p:cNvSpPr>
            <p:nvPr/>
          </p:nvSpPr>
          <p:spPr bwMode="auto">
            <a:xfrm>
              <a:off x="3714076" y="4432609"/>
              <a:ext cx="115888" cy="41275"/>
            </a:xfrm>
            <a:custGeom>
              <a:avLst/>
              <a:gdLst/>
              <a:ahLst/>
              <a:cxnLst>
                <a:cxn ang="0">
                  <a:pos x="57" y="0"/>
                </a:cxn>
                <a:cxn ang="0">
                  <a:pos x="55" y="1"/>
                </a:cxn>
                <a:cxn ang="0">
                  <a:pos x="19" y="8"/>
                </a:cxn>
                <a:cxn ang="0">
                  <a:pos x="7" y="7"/>
                </a:cxn>
                <a:cxn ang="0">
                  <a:pos x="7" y="7"/>
                </a:cxn>
                <a:cxn ang="0">
                  <a:pos x="1" y="13"/>
                </a:cxn>
                <a:cxn ang="0">
                  <a:pos x="6" y="19"/>
                </a:cxn>
                <a:cxn ang="0">
                  <a:pos x="19" y="20"/>
                </a:cxn>
                <a:cxn ang="0">
                  <a:pos x="19" y="20"/>
                </a:cxn>
                <a:cxn ang="0">
                  <a:pos x="57" y="13"/>
                </a:cxn>
              </a:cxnLst>
              <a:rect l="0" t="0" r="r" b="b"/>
              <a:pathLst>
                <a:path w="57" h="20">
                  <a:moveTo>
                    <a:pt x="57" y="0"/>
                  </a:moveTo>
                  <a:cubicBezTo>
                    <a:pt x="56" y="1"/>
                    <a:pt x="56" y="1"/>
                    <a:pt x="55" y="1"/>
                  </a:cubicBezTo>
                  <a:cubicBezTo>
                    <a:pt x="45" y="6"/>
                    <a:pt x="33" y="8"/>
                    <a:pt x="19" y="8"/>
                  </a:cubicBezTo>
                  <a:cubicBezTo>
                    <a:pt x="15" y="8"/>
                    <a:pt x="11" y="8"/>
                    <a:pt x="7" y="7"/>
                  </a:cubicBezTo>
                  <a:cubicBezTo>
                    <a:pt x="7" y="7"/>
                    <a:pt x="7" y="7"/>
                    <a:pt x="7" y="7"/>
                  </a:cubicBezTo>
                  <a:cubicBezTo>
                    <a:pt x="4" y="7"/>
                    <a:pt x="1" y="10"/>
                    <a:pt x="1" y="13"/>
                  </a:cubicBezTo>
                  <a:cubicBezTo>
                    <a:pt x="0" y="16"/>
                    <a:pt x="3" y="19"/>
                    <a:pt x="6" y="19"/>
                  </a:cubicBezTo>
                  <a:cubicBezTo>
                    <a:pt x="11" y="20"/>
                    <a:pt x="15" y="20"/>
                    <a:pt x="19" y="20"/>
                  </a:cubicBezTo>
                  <a:cubicBezTo>
                    <a:pt x="19" y="20"/>
                    <a:pt x="19" y="20"/>
                    <a:pt x="19" y="20"/>
                  </a:cubicBezTo>
                  <a:cubicBezTo>
                    <a:pt x="36" y="20"/>
                    <a:pt x="48" y="17"/>
                    <a:pt x="57" y="13"/>
                  </a:cubicBezTo>
                </a:path>
              </a:pathLst>
            </a:custGeom>
            <a:noFill/>
            <a:ln w="12700"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47" name="Freeform 359">
              <a:extLst>
                <a:ext uri="{FF2B5EF4-FFF2-40B4-BE49-F238E27FC236}">
                  <a16:creationId xmlns:a16="http://schemas.microsoft.com/office/drawing/2014/main" id="{9F238ECA-2BD4-95FF-FE83-C7BEFBDC04C6}"/>
                </a:ext>
              </a:extLst>
            </p:cNvPr>
            <p:cNvSpPr>
              <a:spLocks/>
            </p:cNvSpPr>
            <p:nvPr/>
          </p:nvSpPr>
          <p:spPr bwMode="auto">
            <a:xfrm>
              <a:off x="3818851" y="4608822"/>
              <a:ext cx="149225" cy="111125"/>
            </a:xfrm>
            <a:custGeom>
              <a:avLst/>
              <a:gdLst/>
              <a:ahLst/>
              <a:cxnLst>
                <a:cxn ang="0">
                  <a:pos x="0" y="67"/>
                </a:cxn>
                <a:cxn ang="0">
                  <a:pos x="90" y="67"/>
                </a:cxn>
                <a:cxn ang="0">
                  <a:pos x="79" y="0"/>
                </a:cxn>
                <a:cxn ang="0">
                  <a:pos x="12" y="0"/>
                </a:cxn>
                <a:cxn ang="0">
                  <a:pos x="0" y="67"/>
                </a:cxn>
                <a:cxn ang="0">
                  <a:pos x="0" y="67"/>
                </a:cxn>
              </a:cxnLst>
              <a:rect l="0" t="0" r="r" b="b"/>
              <a:pathLst>
                <a:path w="90" h="67">
                  <a:moveTo>
                    <a:pt x="0" y="67"/>
                  </a:moveTo>
                  <a:lnTo>
                    <a:pt x="90" y="67"/>
                  </a:lnTo>
                  <a:lnTo>
                    <a:pt x="79" y="0"/>
                  </a:lnTo>
                  <a:lnTo>
                    <a:pt x="12" y="0"/>
                  </a:lnTo>
                  <a:lnTo>
                    <a:pt x="0" y="67"/>
                  </a:lnTo>
                  <a:lnTo>
                    <a:pt x="0" y="67"/>
                  </a:lnTo>
                  <a:close/>
                </a:path>
              </a:pathLst>
            </a:custGeom>
            <a:noFill/>
            <a:ln w="12700"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grpSp>
      <p:sp>
        <p:nvSpPr>
          <p:cNvPr id="48" name="TextBox 47">
            <a:extLst>
              <a:ext uri="{FF2B5EF4-FFF2-40B4-BE49-F238E27FC236}">
                <a16:creationId xmlns:a16="http://schemas.microsoft.com/office/drawing/2014/main" id="{D9FC3F3C-20CD-C4E6-BF77-0E05FC0BC070}"/>
              </a:ext>
            </a:extLst>
          </p:cNvPr>
          <p:cNvSpPr txBox="1"/>
          <p:nvPr/>
        </p:nvSpPr>
        <p:spPr bwMode="auto">
          <a:xfrm>
            <a:off x="7554081" y="2062957"/>
            <a:ext cx="1583832" cy="234137"/>
          </a:xfrm>
          <a:prstGeom prst="rect">
            <a:avLst/>
          </a:prstGeom>
          <a:noFill/>
        </p:spPr>
        <p:txBody>
          <a:bodyPr wrap="square">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est Script Repository</a:t>
            </a:r>
          </a:p>
        </p:txBody>
      </p:sp>
      <p:sp>
        <p:nvSpPr>
          <p:cNvPr id="49" name="TextBox 48">
            <a:extLst>
              <a:ext uri="{FF2B5EF4-FFF2-40B4-BE49-F238E27FC236}">
                <a16:creationId xmlns:a16="http://schemas.microsoft.com/office/drawing/2014/main" id="{9278832C-E4EC-2724-196E-F76D13D7F9AB}"/>
              </a:ext>
            </a:extLst>
          </p:cNvPr>
          <p:cNvSpPr txBox="1"/>
          <p:nvPr/>
        </p:nvSpPr>
        <p:spPr bwMode="auto">
          <a:xfrm>
            <a:off x="4955928" y="2020220"/>
            <a:ext cx="2006663" cy="234137"/>
          </a:xfrm>
          <a:prstGeom prst="rect">
            <a:avLst/>
          </a:prstGeom>
          <a:noFill/>
        </p:spPr>
        <p:txBody>
          <a:bodyPr wrap="square">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uild &amp; Maintain test scripts</a:t>
            </a:r>
          </a:p>
        </p:txBody>
      </p:sp>
      <p:grpSp>
        <p:nvGrpSpPr>
          <p:cNvPr id="50" name="Group 49">
            <a:extLst>
              <a:ext uri="{FF2B5EF4-FFF2-40B4-BE49-F238E27FC236}">
                <a16:creationId xmlns:a16="http://schemas.microsoft.com/office/drawing/2014/main" id="{C8D82C4E-2707-D498-7936-BB53ADFCDC3D}"/>
              </a:ext>
            </a:extLst>
          </p:cNvPr>
          <p:cNvGrpSpPr/>
          <p:nvPr/>
        </p:nvGrpSpPr>
        <p:grpSpPr>
          <a:xfrm>
            <a:off x="5233692" y="2250292"/>
            <a:ext cx="1451134" cy="1237063"/>
            <a:chOff x="4069976" y="2166379"/>
            <a:chExt cx="1870524" cy="1341568"/>
          </a:xfrm>
        </p:grpSpPr>
        <p:sp>
          <p:nvSpPr>
            <p:cNvPr id="51" name="Rectangle 50">
              <a:extLst>
                <a:ext uri="{FF2B5EF4-FFF2-40B4-BE49-F238E27FC236}">
                  <a16:creationId xmlns:a16="http://schemas.microsoft.com/office/drawing/2014/main" id="{09BE0855-4840-B5EC-0D9F-4E83510538E2}"/>
                </a:ext>
              </a:extLst>
            </p:cNvPr>
            <p:cNvSpPr/>
            <p:nvPr/>
          </p:nvSpPr>
          <p:spPr>
            <a:xfrm>
              <a:off x="4069976" y="2166379"/>
              <a:ext cx="1870524" cy="30818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rioritize Test Cases</a:t>
              </a:r>
              <a:endParaRPr kumimoji="0" lang="en-US" sz="9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2" name="Rectangle 51">
              <a:extLst>
                <a:ext uri="{FF2B5EF4-FFF2-40B4-BE49-F238E27FC236}">
                  <a16:creationId xmlns:a16="http://schemas.microsoft.com/office/drawing/2014/main" id="{0784B4F3-AD33-7477-B04D-DD01695C32FD}"/>
                </a:ext>
              </a:extLst>
            </p:cNvPr>
            <p:cNvSpPr/>
            <p:nvPr/>
          </p:nvSpPr>
          <p:spPr>
            <a:xfrm>
              <a:off x="4069976" y="2507878"/>
              <a:ext cx="1870524" cy="30818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est Case Walkthrough</a:t>
              </a:r>
              <a:endParaRPr kumimoji="0" lang="en-US" sz="9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3" name="Rectangle 52">
              <a:extLst>
                <a:ext uri="{FF2B5EF4-FFF2-40B4-BE49-F238E27FC236}">
                  <a16:creationId xmlns:a16="http://schemas.microsoft.com/office/drawing/2014/main" id="{12A175DA-9892-609A-2528-394AA4805100}"/>
                </a:ext>
              </a:extLst>
            </p:cNvPr>
            <p:cNvSpPr/>
            <p:nvPr/>
          </p:nvSpPr>
          <p:spPr>
            <a:xfrm>
              <a:off x="4069976" y="2849377"/>
              <a:ext cx="1870524" cy="30818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Script Development &amp; Dry Run</a:t>
              </a:r>
              <a:endParaRPr kumimoji="0" lang="en-US" sz="9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4" name="Rectangle 53">
              <a:extLst>
                <a:ext uri="{FF2B5EF4-FFF2-40B4-BE49-F238E27FC236}">
                  <a16:creationId xmlns:a16="http://schemas.microsoft.com/office/drawing/2014/main" id="{BE34075F-A670-EDFE-930E-C457DE3B3120}"/>
                </a:ext>
              </a:extLst>
            </p:cNvPr>
            <p:cNvSpPr/>
            <p:nvPr/>
          </p:nvSpPr>
          <p:spPr>
            <a:xfrm>
              <a:off x="4069976" y="3199761"/>
              <a:ext cx="1870524" cy="30818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est Script Sign-off</a:t>
              </a:r>
              <a:endParaRPr kumimoji="0" lang="en-US" sz="9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sp>
        <p:nvSpPr>
          <p:cNvPr id="55" name="Rectangle 54">
            <a:extLst>
              <a:ext uri="{FF2B5EF4-FFF2-40B4-BE49-F238E27FC236}">
                <a16:creationId xmlns:a16="http://schemas.microsoft.com/office/drawing/2014/main" id="{DE564543-A277-73F8-7102-DE0DF5070AAC}"/>
              </a:ext>
            </a:extLst>
          </p:cNvPr>
          <p:cNvSpPr/>
          <p:nvPr/>
        </p:nvSpPr>
        <p:spPr>
          <a:xfrm>
            <a:off x="4987582" y="1749343"/>
            <a:ext cx="1943354" cy="1805689"/>
          </a:xfrm>
          <a:prstGeom prst="rect">
            <a:avLst/>
          </a:prstGeom>
          <a:noFill/>
          <a:ln w="190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56" name="Oval 55">
            <a:extLst>
              <a:ext uri="{FF2B5EF4-FFF2-40B4-BE49-F238E27FC236}">
                <a16:creationId xmlns:a16="http://schemas.microsoft.com/office/drawing/2014/main" id="{166FE0F4-700C-5528-D549-E351844B9109}"/>
              </a:ext>
            </a:extLst>
          </p:cNvPr>
          <p:cNvSpPr/>
          <p:nvPr/>
        </p:nvSpPr>
        <p:spPr>
          <a:xfrm>
            <a:off x="5672698" y="1564042"/>
            <a:ext cx="455550" cy="42818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57" name="Group 56">
            <a:extLst>
              <a:ext uri="{FF2B5EF4-FFF2-40B4-BE49-F238E27FC236}">
                <a16:creationId xmlns:a16="http://schemas.microsoft.com/office/drawing/2014/main" id="{99987565-1959-6C02-2187-A3D0FF9EA568}"/>
              </a:ext>
            </a:extLst>
          </p:cNvPr>
          <p:cNvGrpSpPr/>
          <p:nvPr/>
        </p:nvGrpSpPr>
        <p:grpSpPr>
          <a:xfrm>
            <a:off x="5749656" y="1641963"/>
            <a:ext cx="355088" cy="291304"/>
            <a:chOff x="4831548" y="1937059"/>
            <a:chExt cx="361950" cy="315913"/>
          </a:xfrm>
        </p:grpSpPr>
        <p:sp>
          <p:nvSpPr>
            <p:cNvPr id="58" name="Freeform 1505">
              <a:extLst>
                <a:ext uri="{FF2B5EF4-FFF2-40B4-BE49-F238E27FC236}">
                  <a16:creationId xmlns:a16="http://schemas.microsoft.com/office/drawing/2014/main" id="{A6C3051A-5EAF-CABB-BF99-30E356829224}"/>
                </a:ext>
              </a:extLst>
            </p:cNvPr>
            <p:cNvSpPr>
              <a:spLocks/>
            </p:cNvSpPr>
            <p:nvPr/>
          </p:nvSpPr>
          <p:spPr bwMode="auto">
            <a:xfrm>
              <a:off x="4831548" y="2070409"/>
              <a:ext cx="220662" cy="182563"/>
            </a:xfrm>
            <a:custGeom>
              <a:avLst/>
              <a:gdLst>
                <a:gd name="T0" fmla="*/ 0 w 106"/>
                <a:gd name="T1" fmla="*/ 69850 h 89"/>
                <a:gd name="T2" fmla="*/ 0 w 106"/>
                <a:gd name="T3" fmla="*/ 69850 h 89"/>
                <a:gd name="T4" fmla="*/ 0 w 106"/>
                <a:gd name="T5" fmla="*/ 69850 h 89"/>
                <a:gd name="T6" fmla="*/ 1588 w 106"/>
                <a:gd name="T7" fmla="*/ 52584 h 89"/>
                <a:gd name="T8" fmla="*/ 2381 w 106"/>
                <a:gd name="T9" fmla="*/ 43951 h 89"/>
                <a:gd name="T10" fmla="*/ 3969 w 106"/>
                <a:gd name="T11" fmla="*/ 35317 h 89"/>
                <a:gd name="T12" fmla="*/ 7144 w 106"/>
                <a:gd name="T13" fmla="*/ 28254 h 89"/>
                <a:gd name="T14" fmla="*/ 11906 w 106"/>
                <a:gd name="T15" fmla="*/ 21190 h 89"/>
                <a:gd name="T16" fmla="*/ 16669 w 106"/>
                <a:gd name="T17" fmla="*/ 14912 h 89"/>
                <a:gd name="T18" fmla="*/ 23813 w 106"/>
                <a:gd name="T19" fmla="*/ 7848 h 89"/>
                <a:gd name="T20" fmla="*/ 23813 w 106"/>
                <a:gd name="T21" fmla="*/ 7848 h 89"/>
                <a:gd name="T22" fmla="*/ 30163 w 106"/>
                <a:gd name="T23" fmla="*/ 3924 h 89"/>
                <a:gd name="T24" fmla="*/ 38100 w 106"/>
                <a:gd name="T25" fmla="*/ 1570 h 89"/>
                <a:gd name="T26" fmla="*/ 46832 w 106"/>
                <a:gd name="T27" fmla="*/ 0 h 89"/>
                <a:gd name="T28" fmla="*/ 55563 w 106"/>
                <a:gd name="T29" fmla="*/ 1570 h 89"/>
                <a:gd name="T30" fmla="*/ 63500 w 106"/>
                <a:gd name="T31" fmla="*/ 2354 h 89"/>
                <a:gd name="T32" fmla="*/ 72232 w 106"/>
                <a:gd name="T33" fmla="*/ 4709 h 89"/>
                <a:gd name="T34" fmla="*/ 78582 w 106"/>
                <a:gd name="T35" fmla="*/ 8633 h 89"/>
                <a:gd name="T36" fmla="*/ 84138 w 106"/>
                <a:gd name="T37" fmla="*/ 14912 h 8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6"/>
                <a:gd name="T58" fmla="*/ 0 h 89"/>
                <a:gd name="T59" fmla="*/ 106 w 106"/>
                <a:gd name="T60" fmla="*/ 89 h 8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6" h="89">
                  <a:moveTo>
                    <a:pt x="0" y="89"/>
                  </a:moveTo>
                  <a:lnTo>
                    <a:pt x="0" y="89"/>
                  </a:lnTo>
                  <a:lnTo>
                    <a:pt x="2" y="67"/>
                  </a:lnTo>
                  <a:lnTo>
                    <a:pt x="3" y="56"/>
                  </a:lnTo>
                  <a:lnTo>
                    <a:pt x="5" y="45"/>
                  </a:lnTo>
                  <a:lnTo>
                    <a:pt x="9" y="36"/>
                  </a:lnTo>
                  <a:lnTo>
                    <a:pt x="15" y="27"/>
                  </a:lnTo>
                  <a:lnTo>
                    <a:pt x="21" y="19"/>
                  </a:lnTo>
                  <a:lnTo>
                    <a:pt x="30" y="10"/>
                  </a:lnTo>
                  <a:lnTo>
                    <a:pt x="38" y="5"/>
                  </a:lnTo>
                  <a:lnTo>
                    <a:pt x="48" y="2"/>
                  </a:lnTo>
                  <a:lnTo>
                    <a:pt x="59" y="0"/>
                  </a:lnTo>
                  <a:lnTo>
                    <a:pt x="70" y="2"/>
                  </a:lnTo>
                  <a:lnTo>
                    <a:pt x="80" y="3"/>
                  </a:lnTo>
                  <a:lnTo>
                    <a:pt x="91" y="6"/>
                  </a:lnTo>
                  <a:lnTo>
                    <a:pt x="99" y="11"/>
                  </a:lnTo>
                  <a:lnTo>
                    <a:pt x="106" y="19"/>
                  </a:lnTo>
                </a:path>
              </a:pathLst>
            </a:custGeom>
            <a:noFill/>
            <a:ln w="19050">
              <a:solidFill>
                <a:srgbClr val="0098C7"/>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9" name="Freeform 1506">
              <a:extLst>
                <a:ext uri="{FF2B5EF4-FFF2-40B4-BE49-F238E27FC236}">
                  <a16:creationId xmlns:a16="http://schemas.microsoft.com/office/drawing/2014/main" id="{7A02FD45-FF06-DF15-66AB-1128FAA0E44F}"/>
                </a:ext>
              </a:extLst>
            </p:cNvPr>
            <p:cNvSpPr>
              <a:spLocks/>
            </p:cNvSpPr>
            <p:nvPr/>
          </p:nvSpPr>
          <p:spPr bwMode="auto">
            <a:xfrm>
              <a:off x="4947435" y="2057709"/>
              <a:ext cx="246063" cy="195263"/>
            </a:xfrm>
            <a:custGeom>
              <a:avLst/>
              <a:gdLst>
                <a:gd name="T0" fmla="*/ 7871 w 119"/>
                <a:gd name="T1" fmla="*/ 72206 h 93"/>
                <a:gd name="T2" fmla="*/ 7871 w 119"/>
                <a:gd name="T3" fmla="*/ 72206 h 93"/>
                <a:gd name="T4" fmla="*/ 7871 w 119"/>
                <a:gd name="T5" fmla="*/ 72206 h 93"/>
                <a:gd name="T6" fmla="*/ 11806 w 119"/>
                <a:gd name="T7" fmla="*/ 73811 h 93"/>
                <a:gd name="T8" fmla="*/ 14955 w 119"/>
                <a:gd name="T9" fmla="*/ 74613 h 93"/>
                <a:gd name="T10" fmla="*/ 17316 w 119"/>
                <a:gd name="T11" fmla="*/ 74613 h 93"/>
                <a:gd name="T12" fmla="*/ 17316 w 119"/>
                <a:gd name="T13" fmla="*/ 74613 h 93"/>
                <a:gd name="T14" fmla="*/ 23613 w 119"/>
                <a:gd name="T15" fmla="*/ 74613 h 93"/>
                <a:gd name="T16" fmla="*/ 28335 w 119"/>
                <a:gd name="T17" fmla="*/ 73008 h 93"/>
                <a:gd name="T18" fmla="*/ 28335 w 119"/>
                <a:gd name="T19" fmla="*/ 73008 h 93"/>
                <a:gd name="T20" fmla="*/ 30696 w 119"/>
                <a:gd name="T21" fmla="*/ 72206 h 93"/>
                <a:gd name="T22" fmla="*/ 33058 w 119"/>
                <a:gd name="T23" fmla="*/ 69799 h 93"/>
                <a:gd name="T24" fmla="*/ 36206 w 119"/>
                <a:gd name="T25" fmla="*/ 64986 h 93"/>
                <a:gd name="T26" fmla="*/ 37780 w 119"/>
                <a:gd name="T27" fmla="*/ 60172 h 93"/>
                <a:gd name="T28" fmla="*/ 38567 w 119"/>
                <a:gd name="T29" fmla="*/ 55358 h 93"/>
                <a:gd name="T30" fmla="*/ 62967 w 119"/>
                <a:gd name="T31" fmla="*/ 36905 h 93"/>
                <a:gd name="T32" fmla="*/ 62967 w 119"/>
                <a:gd name="T33" fmla="*/ 36905 h 93"/>
                <a:gd name="T34" fmla="*/ 66902 w 119"/>
                <a:gd name="T35" fmla="*/ 37708 h 93"/>
                <a:gd name="T36" fmla="*/ 71625 w 119"/>
                <a:gd name="T37" fmla="*/ 38510 h 93"/>
                <a:gd name="T38" fmla="*/ 77921 w 119"/>
                <a:gd name="T39" fmla="*/ 39312 h 93"/>
                <a:gd name="T40" fmla="*/ 77921 w 119"/>
                <a:gd name="T41" fmla="*/ 39312 h 93"/>
                <a:gd name="T42" fmla="*/ 84218 w 119"/>
                <a:gd name="T43" fmla="*/ 36905 h 93"/>
                <a:gd name="T44" fmla="*/ 86579 w 119"/>
                <a:gd name="T45" fmla="*/ 33696 h 93"/>
                <a:gd name="T46" fmla="*/ 88940 w 119"/>
                <a:gd name="T47" fmla="*/ 32092 h 93"/>
                <a:gd name="T48" fmla="*/ 88940 w 119"/>
                <a:gd name="T49" fmla="*/ 32092 h 93"/>
                <a:gd name="T50" fmla="*/ 90515 w 119"/>
                <a:gd name="T51" fmla="*/ 28882 h 93"/>
                <a:gd name="T52" fmla="*/ 91302 w 119"/>
                <a:gd name="T53" fmla="*/ 24871 h 93"/>
                <a:gd name="T54" fmla="*/ 93663 w 119"/>
                <a:gd name="T55" fmla="*/ 17650 h 93"/>
                <a:gd name="T56" fmla="*/ 77134 w 119"/>
                <a:gd name="T57" fmla="*/ 26476 h 93"/>
                <a:gd name="T58" fmla="*/ 68476 w 119"/>
                <a:gd name="T59" fmla="*/ 12837 h 93"/>
                <a:gd name="T60" fmla="*/ 84218 w 119"/>
                <a:gd name="T61" fmla="*/ 3209 h 93"/>
                <a:gd name="T62" fmla="*/ 84218 w 119"/>
                <a:gd name="T63" fmla="*/ 3209 h 93"/>
                <a:gd name="T64" fmla="*/ 82644 w 119"/>
                <a:gd name="T65" fmla="*/ 2407 h 93"/>
                <a:gd name="T66" fmla="*/ 80283 w 119"/>
                <a:gd name="T67" fmla="*/ 1605 h 93"/>
                <a:gd name="T68" fmla="*/ 80283 w 119"/>
                <a:gd name="T69" fmla="*/ 1605 h 93"/>
                <a:gd name="T70" fmla="*/ 77134 w 119"/>
                <a:gd name="T71" fmla="*/ 0 h 93"/>
                <a:gd name="T72" fmla="*/ 72412 w 119"/>
                <a:gd name="T73" fmla="*/ 1605 h 93"/>
                <a:gd name="T74" fmla="*/ 67689 w 119"/>
                <a:gd name="T75" fmla="*/ 1605 h 93"/>
                <a:gd name="T76" fmla="*/ 62967 w 119"/>
                <a:gd name="T77" fmla="*/ 4011 h 93"/>
                <a:gd name="T78" fmla="*/ 62967 w 119"/>
                <a:gd name="T79" fmla="*/ 4011 h 93"/>
                <a:gd name="T80" fmla="*/ 59031 w 119"/>
                <a:gd name="T81" fmla="*/ 7221 h 93"/>
                <a:gd name="T82" fmla="*/ 55883 w 119"/>
                <a:gd name="T83" fmla="*/ 11232 h 93"/>
                <a:gd name="T84" fmla="*/ 55096 w 119"/>
                <a:gd name="T85" fmla="*/ 15244 h 93"/>
                <a:gd name="T86" fmla="*/ 54309 w 119"/>
                <a:gd name="T87" fmla="*/ 20860 h 93"/>
                <a:gd name="T88" fmla="*/ 29909 w 119"/>
                <a:gd name="T89" fmla="*/ 39312 h 93"/>
                <a:gd name="T90" fmla="*/ 29909 w 119"/>
                <a:gd name="T91" fmla="*/ 39312 h 93"/>
                <a:gd name="T92" fmla="*/ 25187 w 119"/>
                <a:gd name="T93" fmla="*/ 36905 h 93"/>
                <a:gd name="T94" fmla="*/ 19677 w 119"/>
                <a:gd name="T95" fmla="*/ 35301 h 93"/>
                <a:gd name="T96" fmla="*/ 14955 w 119"/>
                <a:gd name="T97" fmla="*/ 36905 h 93"/>
                <a:gd name="T98" fmla="*/ 10232 w 119"/>
                <a:gd name="T99" fmla="*/ 38510 h 93"/>
                <a:gd name="T100" fmla="*/ 10232 w 119"/>
                <a:gd name="T101" fmla="*/ 38510 h 93"/>
                <a:gd name="T102" fmla="*/ 4723 w 119"/>
                <a:gd name="T103" fmla="*/ 41719 h 93"/>
                <a:gd name="T104" fmla="*/ 2361 w 119"/>
                <a:gd name="T105" fmla="*/ 46533 h 93"/>
                <a:gd name="T106" fmla="*/ 0 w 119"/>
                <a:gd name="T107" fmla="*/ 51347 h 93"/>
                <a:gd name="T108" fmla="*/ 0 w 119"/>
                <a:gd name="T109" fmla="*/ 56963 h 93"/>
                <a:gd name="T110" fmla="*/ 16529 w 119"/>
                <a:gd name="T111" fmla="*/ 48137 h 93"/>
                <a:gd name="T112" fmla="*/ 25187 w 119"/>
                <a:gd name="T113" fmla="*/ 60974 h 9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9"/>
                <a:gd name="T172" fmla="*/ 0 h 93"/>
                <a:gd name="T173" fmla="*/ 119 w 119"/>
                <a:gd name="T174" fmla="*/ 93 h 9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9" h="93">
                  <a:moveTo>
                    <a:pt x="10" y="90"/>
                  </a:moveTo>
                  <a:lnTo>
                    <a:pt x="10" y="90"/>
                  </a:lnTo>
                  <a:lnTo>
                    <a:pt x="15" y="92"/>
                  </a:lnTo>
                  <a:lnTo>
                    <a:pt x="19" y="93"/>
                  </a:lnTo>
                  <a:lnTo>
                    <a:pt x="22" y="93"/>
                  </a:lnTo>
                  <a:lnTo>
                    <a:pt x="30" y="93"/>
                  </a:lnTo>
                  <a:lnTo>
                    <a:pt x="36" y="91"/>
                  </a:lnTo>
                  <a:lnTo>
                    <a:pt x="39" y="90"/>
                  </a:lnTo>
                  <a:lnTo>
                    <a:pt x="42" y="87"/>
                  </a:lnTo>
                  <a:lnTo>
                    <a:pt x="46" y="81"/>
                  </a:lnTo>
                  <a:lnTo>
                    <a:pt x="48" y="75"/>
                  </a:lnTo>
                  <a:lnTo>
                    <a:pt x="49" y="69"/>
                  </a:lnTo>
                  <a:lnTo>
                    <a:pt x="80" y="46"/>
                  </a:lnTo>
                  <a:lnTo>
                    <a:pt x="85" y="47"/>
                  </a:lnTo>
                  <a:lnTo>
                    <a:pt x="91" y="48"/>
                  </a:lnTo>
                  <a:lnTo>
                    <a:pt x="99" y="49"/>
                  </a:lnTo>
                  <a:lnTo>
                    <a:pt x="107" y="46"/>
                  </a:lnTo>
                  <a:lnTo>
                    <a:pt x="110" y="42"/>
                  </a:lnTo>
                  <a:lnTo>
                    <a:pt x="113" y="40"/>
                  </a:lnTo>
                  <a:lnTo>
                    <a:pt x="115" y="36"/>
                  </a:lnTo>
                  <a:lnTo>
                    <a:pt x="116" y="31"/>
                  </a:lnTo>
                  <a:lnTo>
                    <a:pt x="119" y="22"/>
                  </a:lnTo>
                  <a:lnTo>
                    <a:pt x="98" y="33"/>
                  </a:lnTo>
                  <a:lnTo>
                    <a:pt x="87" y="16"/>
                  </a:lnTo>
                  <a:lnTo>
                    <a:pt x="107" y="4"/>
                  </a:lnTo>
                  <a:lnTo>
                    <a:pt x="105" y="3"/>
                  </a:lnTo>
                  <a:lnTo>
                    <a:pt x="102" y="2"/>
                  </a:lnTo>
                  <a:lnTo>
                    <a:pt x="98" y="0"/>
                  </a:lnTo>
                  <a:lnTo>
                    <a:pt x="92" y="2"/>
                  </a:lnTo>
                  <a:lnTo>
                    <a:pt x="86" y="2"/>
                  </a:lnTo>
                  <a:lnTo>
                    <a:pt x="80" y="5"/>
                  </a:lnTo>
                  <a:lnTo>
                    <a:pt x="75" y="9"/>
                  </a:lnTo>
                  <a:lnTo>
                    <a:pt x="71" y="14"/>
                  </a:lnTo>
                  <a:lnTo>
                    <a:pt x="70" y="19"/>
                  </a:lnTo>
                  <a:lnTo>
                    <a:pt x="69" y="26"/>
                  </a:lnTo>
                  <a:lnTo>
                    <a:pt x="38" y="49"/>
                  </a:lnTo>
                  <a:lnTo>
                    <a:pt x="32" y="46"/>
                  </a:lnTo>
                  <a:lnTo>
                    <a:pt x="25" y="44"/>
                  </a:lnTo>
                  <a:lnTo>
                    <a:pt x="19" y="46"/>
                  </a:lnTo>
                  <a:lnTo>
                    <a:pt x="13" y="48"/>
                  </a:lnTo>
                  <a:lnTo>
                    <a:pt x="6" y="52"/>
                  </a:lnTo>
                  <a:lnTo>
                    <a:pt x="3" y="58"/>
                  </a:lnTo>
                  <a:lnTo>
                    <a:pt x="0" y="64"/>
                  </a:lnTo>
                  <a:lnTo>
                    <a:pt x="0" y="71"/>
                  </a:lnTo>
                  <a:lnTo>
                    <a:pt x="21" y="60"/>
                  </a:lnTo>
                  <a:lnTo>
                    <a:pt x="32" y="76"/>
                  </a:lnTo>
                </a:path>
              </a:pathLst>
            </a:custGeom>
            <a:noFill/>
            <a:ln w="19050">
              <a:solidFill>
                <a:srgbClr val="0098C7"/>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0" name="Freeform 1510">
              <a:extLst>
                <a:ext uri="{FF2B5EF4-FFF2-40B4-BE49-F238E27FC236}">
                  <a16:creationId xmlns:a16="http://schemas.microsoft.com/office/drawing/2014/main" id="{7BE64425-E3F4-1D81-6494-A8913B484054}"/>
                </a:ext>
              </a:extLst>
            </p:cNvPr>
            <p:cNvSpPr>
              <a:spLocks/>
            </p:cNvSpPr>
            <p:nvPr/>
          </p:nvSpPr>
          <p:spPr bwMode="auto">
            <a:xfrm>
              <a:off x="4906160" y="1937059"/>
              <a:ext cx="112713" cy="125413"/>
            </a:xfrm>
            <a:custGeom>
              <a:avLst/>
              <a:gdLst>
                <a:gd name="T0" fmla="*/ 42863 w 54"/>
                <a:gd name="T1" fmla="*/ 23422 h 61"/>
                <a:gd name="T2" fmla="*/ 42863 w 54"/>
                <a:gd name="T3" fmla="*/ 23422 h 61"/>
                <a:gd name="T4" fmla="*/ 41275 w 54"/>
                <a:gd name="T5" fmla="*/ 28887 h 61"/>
                <a:gd name="T6" fmla="*/ 40482 w 54"/>
                <a:gd name="T7" fmla="*/ 32010 h 61"/>
                <a:gd name="T8" fmla="*/ 38894 w 54"/>
                <a:gd name="T9" fmla="*/ 37475 h 61"/>
                <a:gd name="T10" fmla="*/ 35719 w 54"/>
                <a:gd name="T11" fmla="*/ 39818 h 61"/>
                <a:gd name="T12" fmla="*/ 32544 w 54"/>
                <a:gd name="T13" fmla="*/ 42941 h 61"/>
                <a:gd name="T14" fmla="*/ 30163 w 54"/>
                <a:gd name="T15" fmla="*/ 45283 h 61"/>
                <a:gd name="T16" fmla="*/ 25400 w 54"/>
                <a:gd name="T17" fmla="*/ 46844 h 61"/>
                <a:gd name="T18" fmla="*/ 21432 w 54"/>
                <a:gd name="T19" fmla="*/ 47625 h 61"/>
                <a:gd name="T20" fmla="*/ 21432 w 54"/>
                <a:gd name="T21" fmla="*/ 47625 h 61"/>
                <a:gd name="T22" fmla="*/ 17463 w 54"/>
                <a:gd name="T23" fmla="*/ 46844 h 61"/>
                <a:gd name="T24" fmla="*/ 13494 w 54"/>
                <a:gd name="T25" fmla="*/ 45283 h 61"/>
                <a:gd name="T26" fmla="*/ 9525 w 54"/>
                <a:gd name="T27" fmla="*/ 42941 h 61"/>
                <a:gd name="T28" fmla="*/ 6350 w 54"/>
                <a:gd name="T29" fmla="*/ 39818 h 61"/>
                <a:gd name="T30" fmla="*/ 3969 w 54"/>
                <a:gd name="T31" fmla="*/ 37475 h 61"/>
                <a:gd name="T32" fmla="*/ 1588 w 54"/>
                <a:gd name="T33" fmla="*/ 32010 h 61"/>
                <a:gd name="T34" fmla="*/ 794 w 54"/>
                <a:gd name="T35" fmla="*/ 28887 h 61"/>
                <a:gd name="T36" fmla="*/ 0 w 54"/>
                <a:gd name="T37" fmla="*/ 23422 h 61"/>
                <a:gd name="T38" fmla="*/ 0 w 54"/>
                <a:gd name="T39" fmla="*/ 23422 h 61"/>
                <a:gd name="T40" fmla="*/ 794 w 54"/>
                <a:gd name="T41" fmla="*/ 18738 h 61"/>
                <a:gd name="T42" fmla="*/ 1588 w 54"/>
                <a:gd name="T43" fmla="*/ 14053 h 61"/>
                <a:gd name="T44" fmla="*/ 3969 w 54"/>
                <a:gd name="T45" fmla="*/ 10150 h 61"/>
                <a:gd name="T46" fmla="*/ 6350 w 54"/>
                <a:gd name="T47" fmla="*/ 6246 h 61"/>
                <a:gd name="T48" fmla="*/ 9525 w 54"/>
                <a:gd name="T49" fmla="*/ 3904 h 61"/>
                <a:gd name="T50" fmla="*/ 13494 w 54"/>
                <a:gd name="T51" fmla="*/ 1561 h 61"/>
                <a:gd name="T52" fmla="*/ 17463 w 54"/>
                <a:gd name="T53" fmla="*/ 0 h 61"/>
                <a:gd name="T54" fmla="*/ 21432 w 54"/>
                <a:gd name="T55" fmla="*/ 0 h 61"/>
                <a:gd name="T56" fmla="*/ 21432 w 54"/>
                <a:gd name="T57" fmla="*/ 0 h 61"/>
                <a:gd name="T58" fmla="*/ 25400 w 54"/>
                <a:gd name="T59" fmla="*/ 0 h 61"/>
                <a:gd name="T60" fmla="*/ 30163 w 54"/>
                <a:gd name="T61" fmla="*/ 1561 h 61"/>
                <a:gd name="T62" fmla="*/ 32544 w 54"/>
                <a:gd name="T63" fmla="*/ 3904 h 61"/>
                <a:gd name="T64" fmla="*/ 35719 w 54"/>
                <a:gd name="T65" fmla="*/ 6246 h 61"/>
                <a:gd name="T66" fmla="*/ 38894 w 54"/>
                <a:gd name="T67" fmla="*/ 10150 h 61"/>
                <a:gd name="T68" fmla="*/ 40482 w 54"/>
                <a:gd name="T69" fmla="*/ 14053 h 61"/>
                <a:gd name="T70" fmla="*/ 41275 w 54"/>
                <a:gd name="T71" fmla="*/ 18738 h 61"/>
                <a:gd name="T72" fmla="*/ 42863 w 54"/>
                <a:gd name="T73" fmla="*/ 23422 h 61"/>
                <a:gd name="T74" fmla="*/ 42863 w 54"/>
                <a:gd name="T75" fmla="*/ 23422 h 6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4"/>
                <a:gd name="T115" fmla="*/ 0 h 61"/>
                <a:gd name="T116" fmla="*/ 54 w 54"/>
                <a:gd name="T117" fmla="*/ 61 h 6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4" h="61">
                  <a:moveTo>
                    <a:pt x="54" y="30"/>
                  </a:moveTo>
                  <a:lnTo>
                    <a:pt x="54" y="30"/>
                  </a:lnTo>
                  <a:lnTo>
                    <a:pt x="52" y="37"/>
                  </a:lnTo>
                  <a:lnTo>
                    <a:pt x="51" y="41"/>
                  </a:lnTo>
                  <a:lnTo>
                    <a:pt x="49" y="48"/>
                  </a:lnTo>
                  <a:lnTo>
                    <a:pt x="45" y="51"/>
                  </a:lnTo>
                  <a:lnTo>
                    <a:pt x="41" y="55"/>
                  </a:lnTo>
                  <a:lnTo>
                    <a:pt x="38" y="58"/>
                  </a:lnTo>
                  <a:lnTo>
                    <a:pt x="32" y="60"/>
                  </a:lnTo>
                  <a:lnTo>
                    <a:pt x="27" y="61"/>
                  </a:lnTo>
                  <a:lnTo>
                    <a:pt x="22" y="60"/>
                  </a:lnTo>
                  <a:lnTo>
                    <a:pt x="17" y="58"/>
                  </a:lnTo>
                  <a:lnTo>
                    <a:pt x="12" y="55"/>
                  </a:lnTo>
                  <a:lnTo>
                    <a:pt x="8" y="51"/>
                  </a:lnTo>
                  <a:lnTo>
                    <a:pt x="5" y="48"/>
                  </a:lnTo>
                  <a:lnTo>
                    <a:pt x="2" y="41"/>
                  </a:lnTo>
                  <a:lnTo>
                    <a:pt x="1" y="37"/>
                  </a:lnTo>
                  <a:lnTo>
                    <a:pt x="0" y="30"/>
                  </a:lnTo>
                  <a:lnTo>
                    <a:pt x="1" y="24"/>
                  </a:lnTo>
                  <a:lnTo>
                    <a:pt x="2" y="18"/>
                  </a:lnTo>
                  <a:lnTo>
                    <a:pt x="5" y="13"/>
                  </a:lnTo>
                  <a:lnTo>
                    <a:pt x="8" y="8"/>
                  </a:lnTo>
                  <a:lnTo>
                    <a:pt x="12" y="5"/>
                  </a:lnTo>
                  <a:lnTo>
                    <a:pt x="17" y="2"/>
                  </a:lnTo>
                  <a:lnTo>
                    <a:pt x="22" y="0"/>
                  </a:lnTo>
                  <a:lnTo>
                    <a:pt x="27" y="0"/>
                  </a:lnTo>
                  <a:lnTo>
                    <a:pt x="32" y="0"/>
                  </a:lnTo>
                  <a:lnTo>
                    <a:pt x="38" y="2"/>
                  </a:lnTo>
                  <a:lnTo>
                    <a:pt x="41" y="5"/>
                  </a:lnTo>
                  <a:lnTo>
                    <a:pt x="45" y="8"/>
                  </a:lnTo>
                  <a:lnTo>
                    <a:pt x="49" y="13"/>
                  </a:lnTo>
                  <a:lnTo>
                    <a:pt x="51" y="18"/>
                  </a:lnTo>
                  <a:lnTo>
                    <a:pt x="52" y="24"/>
                  </a:lnTo>
                  <a:lnTo>
                    <a:pt x="54" y="30"/>
                  </a:lnTo>
                  <a:close/>
                </a:path>
              </a:pathLst>
            </a:custGeom>
            <a:noFill/>
            <a:ln w="19050">
              <a:solidFill>
                <a:srgbClr val="0098C7"/>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sp>
        <p:nvSpPr>
          <p:cNvPr id="61" name="Rectangle 60">
            <a:extLst>
              <a:ext uri="{FF2B5EF4-FFF2-40B4-BE49-F238E27FC236}">
                <a16:creationId xmlns:a16="http://schemas.microsoft.com/office/drawing/2014/main" id="{62C7E7A0-030C-5AF1-C743-38BB238319E8}"/>
              </a:ext>
            </a:extLst>
          </p:cNvPr>
          <p:cNvSpPr/>
          <p:nvPr/>
        </p:nvSpPr>
        <p:spPr>
          <a:xfrm>
            <a:off x="7616136" y="2407696"/>
            <a:ext cx="1451134" cy="28417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Manual Test Cases</a:t>
            </a:r>
            <a:endParaRPr kumimoji="0" lang="en-US" sz="9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2" name="Rectangle 61">
            <a:extLst>
              <a:ext uri="{FF2B5EF4-FFF2-40B4-BE49-F238E27FC236}">
                <a16:creationId xmlns:a16="http://schemas.microsoft.com/office/drawing/2014/main" id="{040C92EA-3D25-82FB-30E5-2794FF3C37A4}"/>
              </a:ext>
            </a:extLst>
          </p:cNvPr>
          <p:cNvSpPr/>
          <p:nvPr/>
        </p:nvSpPr>
        <p:spPr>
          <a:xfrm>
            <a:off x="7616136" y="2730424"/>
            <a:ext cx="1451134" cy="28417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utomated Test Scripts</a:t>
            </a:r>
            <a:endParaRPr kumimoji="0" lang="en-US"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3" name="Rectangle 62">
            <a:extLst>
              <a:ext uri="{FF2B5EF4-FFF2-40B4-BE49-F238E27FC236}">
                <a16:creationId xmlns:a16="http://schemas.microsoft.com/office/drawing/2014/main" id="{8CAC01C9-E3E4-52A8-41D4-2F0F73A77B23}"/>
              </a:ext>
            </a:extLst>
          </p:cNvPr>
          <p:cNvSpPr/>
          <p:nvPr/>
        </p:nvSpPr>
        <p:spPr>
          <a:xfrm>
            <a:off x="7616136" y="3053151"/>
            <a:ext cx="1451134" cy="28417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ests Data</a:t>
            </a:r>
            <a:endParaRPr kumimoji="0" lang="en-US" sz="9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64" name="Connector: Elbow 63">
            <a:extLst>
              <a:ext uri="{FF2B5EF4-FFF2-40B4-BE49-F238E27FC236}">
                <a16:creationId xmlns:a16="http://schemas.microsoft.com/office/drawing/2014/main" id="{FAB95370-4C92-1E40-3E0A-58FE6062832A}"/>
              </a:ext>
            </a:extLst>
          </p:cNvPr>
          <p:cNvCxnSpPr>
            <a:cxnSpLocks/>
            <a:stCxn id="16" idx="2"/>
            <a:endCxn id="14" idx="2"/>
          </p:cNvCxnSpPr>
          <p:nvPr/>
        </p:nvCxnSpPr>
        <p:spPr>
          <a:xfrm rot="16200000" flipH="1">
            <a:off x="5765747" y="838415"/>
            <a:ext cx="365378" cy="4792098"/>
          </a:xfrm>
          <a:prstGeom prst="bentConnector3">
            <a:avLst>
              <a:gd name="adj1" fmla="val 224035"/>
            </a:avLst>
          </a:prstGeom>
          <a:ln w="19050">
            <a:solidFill>
              <a:schemeClr val="tx1">
                <a:lumMod val="95000"/>
                <a:lumOff val="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90A76B30-03EF-1FF3-8034-385EF37D6534}"/>
              </a:ext>
            </a:extLst>
          </p:cNvPr>
          <p:cNvCxnSpPr>
            <a:cxnSpLocks/>
            <a:stCxn id="31" idx="3"/>
            <a:endCxn id="56" idx="0"/>
          </p:cNvCxnSpPr>
          <p:nvPr/>
        </p:nvCxnSpPr>
        <p:spPr>
          <a:xfrm flipV="1">
            <a:off x="4759627" y="1564042"/>
            <a:ext cx="1140846" cy="1146474"/>
          </a:xfrm>
          <a:prstGeom prst="bentConnector4">
            <a:avLst>
              <a:gd name="adj1" fmla="val 5327"/>
              <a:gd name="adj2" fmla="val 118386"/>
            </a:avLst>
          </a:prstGeom>
          <a:ln w="19050">
            <a:solidFill>
              <a:schemeClr val="tx1">
                <a:lumMod val="95000"/>
                <a:lumOff val="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53B27D72-B7D1-F0BA-A77D-7ADD672E239E}"/>
              </a:ext>
            </a:extLst>
          </p:cNvPr>
          <p:cNvSpPr txBox="1"/>
          <p:nvPr/>
        </p:nvSpPr>
        <p:spPr bwMode="auto">
          <a:xfrm>
            <a:off x="9810737" y="3284054"/>
            <a:ext cx="1583832" cy="234137"/>
          </a:xfrm>
          <a:prstGeom prst="rect">
            <a:avLst/>
          </a:prstGeom>
          <a:noFill/>
        </p:spPr>
        <p:txBody>
          <a:bodyPr wrap="square">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est Execution</a:t>
            </a:r>
          </a:p>
        </p:txBody>
      </p:sp>
      <p:sp>
        <p:nvSpPr>
          <p:cNvPr id="67" name="Rectangle 66">
            <a:extLst>
              <a:ext uri="{FF2B5EF4-FFF2-40B4-BE49-F238E27FC236}">
                <a16:creationId xmlns:a16="http://schemas.microsoft.com/office/drawing/2014/main" id="{205B935C-AA51-2802-D8A7-67179ACD66A6}"/>
              </a:ext>
            </a:extLst>
          </p:cNvPr>
          <p:cNvSpPr/>
          <p:nvPr/>
        </p:nvSpPr>
        <p:spPr>
          <a:xfrm>
            <a:off x="9872792" y="3504548"/>
            <a:ext cx="1451134" cy="28417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utomated Tests</a:t>
            </a:r>
            <a:endParaRPr kumimoji="0" lang="en-US" sz="9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8" name="Rectangle 67">
            <a:extLst>
              <a:ext uri="{FF2B5EF4-FFF2-40B4-BE49-F238E27FC236}">
                <a16:creationId xmlns:a16="http://schemas.microsoft.com/office/drawing/2014/main" id="{050E7FB4-1F67-D3AB-7A6F-CF9843499BD2}"/>
              </a:ext>
            </a:extLst>
          </p:cNvPr>
          <p:cNvSpPr/>
          <p:nvPr/>
        </p:nvSpPr>
        <p:spPr>
          <a:xfrm>
            <a:off x="9872792" y="3857128"/>
            <a:ext cx="1451134" cy="378572"/>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Manual execution of Non-Automated Tests</a:t>
            </a:r>
            <a:endParaRPr kumimoji="0" lang="en-US" sz="9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69" name="Rectangle 68">
            <a:extLst>
              <a:ext uri="{FF2B5EF4-FFF2-40B4-BE49-F238E27FC236}">
                <a16:creationId xmlns:a16="http://schemas.microsoft.com/office/drawing/2014/main" id="{CD087EE6-84B8-1D67-A5BA-B90A504B9716}"/>
              </a:ext>
            </a:extLst>
          </p:cNvPr>
          <p:cNvSpPr/>
          <p:nvPr/>
        </p:nvSpPr>
        <p:spPr>
          <a:xfrm>
            <a:off x="9872792" y="4274248"/>
            <a:ext cx="1451134" cy="28417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ests Results 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ass / Fail)</a:t>
            </a:r>
            <a:endParaRPr kumimoji="0" lang="en-US" sz="9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0" name="Oval 69">
            <a:extLst>
              <a:ext uri="{FF2B5EF4-FFF2-40B4-BE49-F238E27FC236}">
                <a16:creationId xmlns:a16="http://schemas.microsoft.com/office/drawing/2014/main" id="{DD4228C1-78CB-5354-7553-3A2B5BA8CEEE}"/>
              </a:ext>
            </a:extLst>
          </p:cNvPr>
          <p:cNvSpPr/>
          <p:nvPr/>
        </p:nvSpPr>
        <p:spPr>
          <a:xfrm>
            <a:off x="10073831" y="2765969"/>
            <a:ext cx="528796" cy="497027"/>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71" name="Group 70">
            <a:extLst>
              <a:ext uri="{FF2B5EF4-FFF2-40B4-BE49-F238E27FC236}">
                <a16:creationId xmlns:a16="http://schemas.microsoft.com/office/drawing/2014/main" id="{0750541B-33D1-C99F-6ECE-7D027E979C10}"/>
              </a:ext>
            </a:extLst>
          </p:cNvPr>
          <p:cNvGrpSpPr/>
          <p:nvPr/>
        </p:nvGrpSpPr>
        <p:grpSpPr>
          <a:xfrm>
            <a:off x="10185044" y="2828366"/>
            <a:ext cx="306369" cy="372233"/>
            <a:chOff x="6496684" y="2564703"/>
            <a:chExt cx="413526" cy="534541"/>
          </a:xfrm>
          <a:noFill/>
        </p:grpSpPr>
        <p:sp>
          <p:nvSpPr>
            <p:cNvPr id="72" name="Freeform 81">
              <a:extLst>
                <a:ext uri="{FF2B5EF4-FFF2-40B4-BE49-F238E27FC236}">
                  <a16:creationId xmlns:a16="http://schemas.microsoft.com/office/drawing/2014/main" id="{4B28BEA0-44E5-761D-B03E-85820980F7BA}"/>
                </a:ext>
              </a:extLst>
            </p:cNvPr>
            <p:cNvSpPr>
              <a:spLocks/>
            </p:cNvSpPr>
            <p:nvPr/>
          </p:nvSpPr>
          <p:spPr bwMode="auto">
            <a:xfrm>
              <a:off x="6629121" y="2564703"/>
              <a:ext cx="113517" cy="74095"/>
            </a:xfrm>
            <a:custGeom>
              <a:avLst/>
              <a:gdLst/>
              <a:ahLst/>
              <a:cxnLst>
                <a:cxn ang="0">
                  <a:pos x="35" y="28"/>
                </a:cxn>
                <a:cxn ang="0">
                  <a:pos x="35" y="20"/>
                </a:cxn>
                <a:cxn ang="0">
                  <a:pos x="42" y="20"/>
                </a:cxn>
                <a:cxn ang="0">
                  <a:pos x="42" y="0"/>
                </a:cxn>
                <a:cxn ang="0">
                  <a:pos x="0" y="0"/>
                </a:cxn>
                <a:cxn ang="0">
                  <a:pos x="0" y="20"/>
                </a:cxn>
                <a:cxn ang="0">
                  <a:pos x="6" y="20"/>
                </a:cxn>
                <a:cxn ang="0">
                  <a:pos x="6" y="28"/>
                </a:cxn>
              </a:cxnLst>
              <a:rect l="0" t="0" r="r" b="b"/>
              <a:pathLst>
                <a:path w="42" h="28">
                  <a:moveTo>
                    <a:pt x="35" y="28"/>
                  </a:moveTo>
                  <a:lnTo>
                    <a:pt x="35" y="20"/>
                  </a:lnTo>
                  <a:lnTo>
                    <a:pt x="42" y="20"/>
                  </a:lnTo>
                  <a:lnTo>
                    <a:pt x="42" y="0"/>
                  </a:lnTo>
                  <a:lnTo>
                    <a:pt x="0" y="0"/>
                  </a:lnTo>
                  <a:lnTo>
                    <a:pt x="0" y="20"/>
                  </a:lnTo>
                  <a:lnTo>
                    <a:pt x="6" y="20"/>
                  </a:lnTo>
                  <a:lnTo>
                    <a:pt x="6" y="28"/>
                  </a:lnTo>
                </a:path>
              </a:pathLst>
            </a:custGeom>
            <a:grpFill/>
            <a:ln w="19050">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73" name="Freeform 82">
              <a:extLst>
                <a:ext uri="{FF2B5EF4-FFF2-40B4-BE49-F238E27FC236}">
                  <a16:creationId xmlns:a16="http://schemas.microsoft.com/office/drawing/2014/main" id="{13A51B66-B20F-7C94-294E-93D780F83AC2}"/>
                </a:ext>
              </a:extLst>
            </p:cNvPr>
            <p:cNvSpPr>
              <a:spLocks/>
            </p:cNvSpPr>
            <p:nvPr/>
          </p:nvSpPr>
          <p:spPr bwMode="auto">
            <a:xfrm>
              <a:off x="6496684" y="2673198"/>
              <a:ext cx="378389" cy="426046"/>
            </a:xfrm>
            <a:custGeom>
              <a:avLst/>
              <a:gdLst/>
              <a:ahLst/>
              <a:cxnLst>
                <a:cxn ang="0">
                  <a:pos x="33" y="109"/>
                </a:cxn>
                <a:cxn ang="0">
                  <a:pos x="26" y="100"/>
                </a:cxn>
                <a:cxn ang="0">
                  <a:pos x="17" y="81"/>
                </a:cxn>
                <a:cxn ang="0">
                  <a:pos x="17" y="71"/>
                </a:cxn>
                <a:cxn ang="0">
                  <a:pos x="21" y="51"/>
                </a:cxn>
                <a:cxn ang="0">
                  <a:pos x="33" y="33"/>
                </a:cxn>
                <a:cxn ang="0">
                  <a:pos x="40" y="27"/>
                </a:cxn>
                <a:cxn ang="0">
                  <a:pos x="59" y="19"/>
                </a:cxn>
                <a:cxn ang="0">
                  <a:pos x="71" y="18"/>
                </a:cxn>
                <a:cxn ang="0">
                  <a:pos x="91" y="22"/>
                </a:cxn>
                <a:cxn ang="0">
                  <a:pos x="107" y="33"/>
                </a:cxn>
                <a:cxn ang="0">
                  <a:pos x="114" y="42"/>
                </a:cxn>
                <a:cxn ang="0">
                  <a:pos x="122" y="61"/>
                </a:cxn>
                <a:cxn ang="0">
                  <a:pos x="122" y="71"/>
                </a:cxn>
                <a:cxn ang="0">
                  <a:pos x="119" y="91"/>
                </a:cxn>
                <a:cxn ang="0">
                  <a:pos x="107" y="109"/>
                </a:cxn>
                <a:cxn ang="0">
                  <a:pos x="100" y="115"/>
                </a:cxn>
                <a:cxn ang="0">
                  <a:pos x="82" y="123"/>
                </a:cxn>
                <a:cxn ang="0">
                  <a:pos x="72" y="104"/>
                </a:cxn>
                <a:cxn ang="0">
                  <a:pos x="72" y="161"/>
                </a:cxn>
                <a:cxn ang="0">
                  <a:pos x="72" y="142"/>
                </a:cxn>
                <a:cxn ang="0">
                  <a:pos x="97" y="136"/>
                </a:cxn>
                <a:cxn ang="0">
                  <a:pos x="120" y="122"/>
                </a:cxn>
                <a:cxn ang="0">
                  <a:pos x="129" y="110"/>
                </a:cxn>
                <a:cxn ang="0">
                  <a:pos x="139" y="85"/>
                </a:cxn>
                <a:cxn ang="0">
                  <a:pos x="140" y="71"/>
                </a:cxn>
                <a:cxn ang="0">
                  <a:pos x="135" y="44"/>
                </a:cxn>
                <a:cxn ang="0">
                  <a:pos x="120" y="22"/>
                </a:cxn>
                <a:cxn ang="0">
                  <a:pos x="109" y="13"/>
                </a:cxn>
                <a:cxn ang="0">
                  <a:pos x="83" y="1"/>
                </a:cxn>
                <a:cxn ang="0">
                  <a:pos x="71" y="0"/>
                </a:cxn>
                <a:cxn ang="0">
                  <a:pos x="43" y="5"/>
                </a:cxn>
                <a:cxn ang="0">
                  <a:pos x="20" y="22"/>
                </a:cxn>
                <a:cxn ang="0">
                  <a:pos x="11" y="32"/>
                </a:cxn>
                <a:cxn ang="0">
                  <a:pos x="1" y="57"/>
                </a:cxn>
                <a:cxn ang="0">
                  <a:pos x="0" y="71"/>
                </a:cxn>
                <a:cxn ang="0">
                  <a:pos x="1" y="87"/>
                </a:cxn>
                <a:cxn ang="0">
                  <a:pos x="7" y="104"/>
                </a:cxn>
              </a:cxnLst>
              <a:rect l="0" t="0" r="r" b="b"/>
              <a:pathLst>
                <a:path w="140" h="161">
                  <a:moveTo>
                    <a:pt x="20" y="122"/>
                  </a:moveTo>
                  <a:lnTo>
                    <a:pt x="33" y="109"/>
                  </a:lnTo>
                  <a:lnTo>
                    <a:pt x="33" y="109"/>
                  </a:lnTo>
                  <a:lnTo>
                    <a:pt x="26" y="100"/>
                  </a:lnTo>
                  <a:lnTo>
                    <a:pt x="21" y="91"/>
                  </a:lnTo>
                  <a:lnTo>
                    <a:pt x="17" y="81"/>
                  </a:lnTo>
                  <a:lnTo>
                    <a:pt x="17" y="71"/>
                  </a:lnTo>
                  <a:lnTo>
                    <a:pt x="17" y="71"/>
                  </a:lnTo>
                  <a:lnTo>
                    <a:pt x="17" y="61"/>
                  </a:lnTo>
                  <a:lnTo>
                    <a:pt x="21" y="51"/>
                  </a:lnTo>
                  <a:lnTo>
                    <a:pt x="26" y="42"/>
                  </a:lnTo>
                  <a:lnTo>
                    <a:pt x="33" y="33"/>
                  </a:lnTo>
                  <a:lnTo>
                    <a:pt x="33" y="33"/>
                  </a:lnTo>
                  <a:lnTo>
                    <a:pt x="40" y="27"/>
                  </a:lnTo>
                  <a:lnTo>
                    <a:pt x="49" y="22"/>
                  </a:lnTo>
                  <a:lnTo>
                    <a:pt x="59" y="19"/>
                  </a:lnTo>
                  <a:lnTo>
                    <a:pt x="71" y="18"/>
                  </a:lnTo>
                  <a:lnTo>
                    <a:pt x="71" y="18"/>
                  </a:lnTo>
                  <a:lnTo>
                    <a:pt x="81" y="19"/>
                  </a:lnTo>
                  <a:lnTo>
                    <a:pt x="91" y="22"/>
                  </a:lnTo>
                  <a:lnTo>
                    <a:pt x="100" y="27"/>
                  </a:lnTo>
                  <a:lnTo>
                    <a:pt x="107" y="33"/>
                  </a:lnTo>
                  <a:lnTo>
                    <a:pt x="107" y="33"/>
                  </a:lnTo>
                  <a:lnTo>
                    <a:pt x="114" y="42"/>
                  </a:lnTo>
                  <a:lnTo>
                    <a:pt x="119" y="51"/>
                  </a:lnTo>
                  <a:lnTo>
                    <a:pt x="122" y="61"/>
                  </a:lnTo>
                  <a:lnTo>
                    <a:pt x="122" y="71"/>
                  </a:lnTo>
                  <a:lnTo>
                    <a:pt x="122" y="71"/>
                  </a:lnTo>
                  <a:lnTo>
                    <a:pt x="122" y="81"/>
                  </a:lnTo>
                  <a:lnTo>
                    <a:pt x="119" y="91"/>
                  </a:lnTo>
                  <a:lnTo>
                    <a:pt x="114" y="100"/>
                  </a:lnTo>
                  <a:lnTo>
                    <a:pt x="107" y="109"/>
                  </a:lnTo>
                  <a:lnTo>
                    <a:pt x="107" y="109"/>
                  </a:lnTo>
                  <a:lnTo>
                    <a:pt x="100" y="115"/>
                  </a:lnTo>
                  <a:lnTo>
                    <a:pt x="91" y="120"/>
                  </a:lnTo>
                  <a:lnTo>
                    <a:pt x="82" y="123"/>
                  </a:lnTo>
                  <a:lnTo>
                    <a:pt x="72" y="124"/>
                  </a:lnTo>
                  <a:lnTo>
                    <a:pt x="72" y="104"/>
                  </a:lnTo>
                  <a:lnTo>
                    <a:pt x="43" y="132"/>
                  </a:lnTo>
                  <a:lnTo>
                    <a:pt x="72" y="161"/>
                  </a:lnTo>
                  <a:lnTo>
                    <a:pt x="72" y="142"/>
                  </a:lnTo>
                  <a:lnTo>
                    <a:pt x="72" y="142"/>
                  </a:lnTo>
                  <a:lnTo>
                    <a:pt x="84" y="141"/>
                  </a:lnTo>
                  <a:lnTo>
                    <a:pt x="97" y="136"/>
                  </a:lnTo>
                  <a:lnTo>
                    <a:pt x="110" y="129"/>
                  </a:lnTo>
                  <a:lnTo>
                    <a:pt x="120" y="122"/>
                  </a:lnTo>
                  <a:lnTo>
                    <a:pt x="120" y="122"/>
                  </a:lnTo>
                  <a:lnTo>
                    <a:pt x="129" y="110"/>
                  </a:lnTo>
                  <a:lnTo>
                    <a:pt x="135" y="98"/>
                  </a:lnTo>
                  <a:lnTo>
                    <a:pt x="139" y="85"/>
                  </a:lnTo>
                  <a:lnTo>
                    <a:pt x="140" y="71"/>
                  </a:lnTo>
                  <a:lnTo>
                    <a:pt x="140" y="71"/>
                  </a:lnTo>
                  <a:lnTo>
                    <a:pt x="139" y="57"/>
                  </a:lnTo>
                  <a:lnTo>
                    <a:pt x="135" y="44"/>
                  </a:lnTo>
                  <a:lnTo>
                    <a:pt x="129" y="32"/>
                  </a:lnTo>
                  <a:lnTo>
                    <a:pt x="120" y="22"/>
                  </a:lnTo>
                  <a:lnTo>
                    <a:pt x="120" y="22"/>
                  </a:lnTo>
                  <a:lnTo>
                    <a:pt x="109" y="13"/>
                  </a:lnTo>
                  <a:lnTo>
                    <a:pt x="97" y="5"/>
                  </a:lnTo>
                  <a:lnTo>
                    <a:pt x="83" y="1"/>
                  </a:lnTo>
                  <a:lnTo>
                    <a:pt x="71" y="0"/>
                  </a:lnTo>
                  <a:lnTo>
                    <a:pt x="71" y="0"/>
                  </a:lnTo>
                  <a:lnTo>
                    <a:pt x="57" y="1"/>
                  </a:lnTo>
                  <a:lnTo>
                    <a:pt x="43" y="5"/>
                  </a:lnTo>
                  <a:lnTo>
                    <a:pt x="31" y="13"/>
                  </a:lnTo>
                  <a:lnTo>
                    <a:pt x="20" y="22"/>
                  </a:lnTo>
                  <a:lnTo>
                    <a:pt x="20" y="22"/>
                  </a:lnTo>
                  <a:lnTo>
                    <a:pt x="11" y="32"/>
                  </a:lnTo>
                  <a:lnTo>
                    <a:pt x="5" y="44"/>
                  </a:lnTo>
                  <a:lnTo>
                    <a:pt x="1" y="57"/>
                  </a:lnTo>
                  <a:lnTo>
                    <a:pt x="0" y="71"/>
                  </a:lnTo>
                  <a:lnTo>
                    <a:pt x="0" y="71"/>
                  </a:lnTo>
                  <a:lnTo>
                    <a:pt x="0" y="80"/>
                  </a:lnTo>
                  <a:lnTo>
                    <a:pt x="1" y="87"/>
                  </a:lnTo>
                  <a:lnTo>
                    <a:pt x="3" y="96"/>
                  </a:lnTo>
                  <a:lnTo>
                    <a:pt x="7" y="104"/>
                  </a:lnTo>
                </a:path>
              </a:pathLst>
            </a:custGeom>
            <a:grpFill/>
            <a:ln w="19050">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74" name="Freeform 83">
              <a:extLst>
                <a:ext uri="{FF2B5EF4-FFF2-40B4-BE49-F238E27FC236}">
                  <a16:creationId xmlns:a16="http://schemas.microsoft.com/office/drawing/2014/main" id="{560767D5-5816-A3D9-1456-31D5F374E0DC}"/>
                </a:ext>
              </a:extLst>
            </p:cNvPr>
            <p:cNvSpPr>
              <a:spLocks/>
            </p:cNvSpPr>
            <p:nvPr/>
          </p:nvSpPr>
          <p:spPr bwMode="auto">
            <a:xfrm>
              <a:off x="6821017" y="2638798"/>
              <a:ext cx="89193" cy="87325"/>
            </a:xfrm>
            <a:custGeom>
              <a:avLst/>
              <a:gdLst/>
              <a:ahLst/>
              <a:cxnLst>
                <a:cxn ang="0">
                  <a:pos x="0" y="14"/>
                </a:cxn>
                <a:cxn ang="0">
                  <a:pos x="14" y="0"/>
                </a:cxn>
                <a:cxn ang="0">
                  <a:pos x="33" y="19"/>
                </a:cxn>
                <a:cxn ang="0">
                  <a:pos x="20" y="33"/>
                </a:cxn>
              </a:cxnLst>
              <a:rect l="0" t="0" r="r" b="b"/>
              <a:pathLst>
                <a:path w="33" h="33">
                  <a:moveTo>
                    <a:pt x="0" y="14"/>
                  </a:moveTo>
                  <a:lnTo>
                    <a:pt x="14" y="0"/>
                  </a:lnTo>
                  <a:lnTo>
                    <a:pt x="33" y="19"/>
                  </a:lnTo>
                  <a:lnTo>
                    <a:pt x="20" y="33"/>
                  </a:lnTo>
                </a:path>
              </a:pathLst>
            </a:custGeom>
            <a:grpFill/>
            <a:ln w="19050">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75" name="Line 84">
              <a:extLst>
                <a:ext uri="{FF2B5EF4-FFF2-40B4-BE49-F238E27FC236}">
                  <a16:creationId xmlns:a16="http://schemas.microsoft.com/office/drawing/2014/main" id="{2F01B070-5DCC-023E-05ED-514B828C5E31}"/>
                </a:ext>
              </a:extLst>
            </p:cNvPr>
            <p:cNvSpPr>
              <a:spLocks noChangeShapeType="1"/>
            </p:cNvSpPr>
            <p:nvPr/>
          </p:nvSpPr>
          <p:spPr bwMode="auto">
            <a:xfrm>
              <a:off x="6688582" y="2752586"/>
              <a:ext cx="2704" cy="108495"/>
            </a:xfrm>
            <a:prstGeom prst="line">
              <a:avLst/>
            </a:prstGeom>
            <a:grpFill/>
            <a:ln w="19050">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sp>
          <p:nvSpPr>
            <p:cNvPr id="76" name="Freeform 85">
              <a:extLst>
                <a:ext uri="{FF2B5EF4-FFF2-40B4-BE49-F238E27FC236}">
                  <a16:creationId xmlns:a16="http://schemas.microsoft.com/office/drawing/2014/main" id="{7227A330-EAB9-8C83-9609-D23A01920D6F}"/>
                </a:ext>
              </a:extLst>
            </p:cNvPr>
            <p:cNvSpPr>
              <a:spLocks/>
            </p:cNvSpPr>
            <p:nvPr/>
          </p:nvSpPr>
          <p:spPr bwMode="auto">
            <a:xfrm>
              <a:off x="6666960" y="2839913"/>
              <a:ext cx="40543" cy="37048"/>
            </a:xfrm>
            <a:custGeom>
              <a:avLst/>
              <a:gdLst/>
              <a:ahLst/>
              <a:cxnLst>
                <a:cxn ang="0">
                  <a:pos x="15" y="8"/>
                </a:cxn>
                <a:cxn ang="0">
                  <a:pos x="15" y="8"/>
                </a:cxn>
                <a:cxn ang="0">
                  <a:pos x="14" y="11"/>
                </a:cxn>
                <a:cxn ang="0">
                  <a:pos x="13" y="13"/>
                </a:cxn>
                <a:cxn ang="0">
                  <a:pos x="10" y="14"/>
                </a:cxn>
                <a:cxn ang="0">
                  <a:pos x="8" y="14"/>
                </a:cxn>
                <a:cxn ang="0">
                  <a:pos x="8" y="14"/>
                </a:cxn>
                <a:cxn ang="0">
                  <a:pos x="5" y="14"/>
                </a:cxn>
                <a:cxn ang="0">
                  <a:pos x="2" y="13"/>
                </a:cxn>
                <a:cxn ang="0">
                  <a:pos x="1" y="11"/>
                </a:cxn>
                <a:cxn ang="0">
                  <a:pos x="0" y="8"/>
                </a:cxn>
                <a:cxn ang="0">
                  <a:pos x="0" y="8"/>
                </a:cxn>
                <a:cxn ang="0">
                  <a:pos x="1" y="4"/>
                </a:cxn>
                <a:cxn ang="0">
                  <a:pos x="2" y="3"/>
                </a:cxn>
                <a:cxn ang="0">
                  <a:pos x="5" y="0"/>
                </a:cxn>
                <a:cxn ang="0">
                  <a:pos x="8" y="0"/>
                </a:cxn>
                <a:cxn ang="0">
                  <a:pos x="8" y="0"/>
                </a:cxn>
                <a:cxn ang="0">
                  <a:pos x="10" y="0"/>
                </a:cxn>
                <a:cxn ang="0">
                  <a:pos x="13" y="3"/>
                </a:cxn>
                <a:cxn ang="0">
                  <a:pos x="14" y="4"/>
                </a:cxn>
                <a:cxn ang="0">
                  <a:pos x="15" y="8"/>
                </a:cxn>
                <a:cxn ang="0">
                  <a:pos x="15" y="8"/>
                </a:cxn>
              </a:cxnLst>
              <a:rect l="0" t="0" r="r" b="b"/>
              <a:pathLst>
                <a:path w="15" h="14">
                  <a:moveTo>
                    <a:pt x="15" y="8"/>
                  </a:moveTo>
                  <a:lnTo>
                    <a:pt x="15" y="8"/>
                  </a:lnTo>
                  <a:lnTo>
                    <a:pt x="14" y="11"/>
                  </a:lnTo>
                  <a:lnTo>
                    <a:pt x="13" y="13"/>
                  </a:lnTo>
                  <a:lnTo>
                    <a:pt x="10" y="14"/>
                  </a:lnTo>
                  <a:lnTo>
                    <a:pt x="8" y="14"/>
                  </a:lnTo>
                  <a:lnTo>
                    <a:pt x="8" y="14"/>
                  </a:lnTo>
                  <a:lnTo>
                    <a:pt x="5" y="14"/>
                  </a:lnTo>
                  <a:lnTo>
                    <a:pt x="2" y="13"/>
                  </a:lnTo>
                  <a:lnTo>
                    <a:pt x="1" y="11"/>
                  </a:lnTo>
                  <a:lnTo>
                    <a:pt x="0" y="8"/>
                  </a:lnTo>
                  <a:lnTo>
                    <a:pt x="0" y="8"/>
                  </a:lnTo>
                  <a:lnTo>
                    <a:pt x="1" y="4"/>
                  </a:lnTo>
                  <a:lnTo>
                    <a:pt x="2" y="3"/>
                  </a:lnTo>
                  <a:lnTo>
                    <a:pt x="5" y="0"/>
                  </a:lnTo>
                  <a:lnTo>
                    <a:pt x="8" y="0"/>
                  </a:lnTo>
                  <a:lnTo>
                    <a:pt x="8" y="0"/>
                  </a:lnTo>
                  <a:lnTo>
                    <a:pt x="10" y="0"/>
                  </a:lnTo>
                  <a:lnTo>
                    <a:pt x="13" y="3"/>
                  </a:lnTo>
                  <a:lnTo>
                    <a:pt x="14" y="4"/>
                  </a:lnTo>
                  <a:lnTo>
                    <a:pt x="15" y="8"/>
                  </a:lnTo>
                  <a:lnTo>
                    <a:pt x="15" y="8"/>
                  </a:lnTo>
                  <a:close/>
                </a:path>
              </a:pathLst>
            </a:custGeom>
            <a:grpFill/>
            <a:ln w="19050">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grpSp>
      <p:cxnSp>
        <p:nvCxnSpPr>
          <p:cNvPr id="77" name="Connector: Elbow 76">
            <a:extLst>
              <a:ext uri="{FF2B5EF4-FFF2-40B4-BE49-F238E27FC236}">
                <a16:creationId xmlns:a16="http://schemas.microsoft.com/office/drawing/2014/main" id="{74D6A8DF-4B63-6521-1E4C-6C4C51518EBC}"/>
              </a:ext>
            </a:extLst>
          </p:cNvPr>
          <p:cNvCxnSpPr>
            <a:cxnSpLocks/>
            <a:stCxn id="62" idx="3"/>
            <a:endCxn id="70" idx="0"/>
          </p:cNvCxnSpPr>
          <p:nvPr/>
        </p:nvCxnSpPr>
        <p:spPr>
          <a:xfrm flipV="1">
            <a:off x="9067270" y="2765969"/>
            <a:ext cx="1270960" cy="106544"/>
          </a:xfrm>
          <a:prstGeom prst="bentConnector4">
            <a:avLst>
              <a:gd name="adj1" fmla="val 39598"/>
              <a:gd name="adj2" fmla="val 222586"/>
            </a:avLst>
          </a:prstGeom>
          <a:ln w="19050">
            <a:solidFill>
              <a:schemeClr val="tx1">
                <a:lumMod val="95000"/>
                <a:lumOff val="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3B74679F-CC64-712E-FA8A-5991B752B506}"/>
              </a:ext>
            </a:extLst>
          </p:cNvPr>
          <p:cNvCxnSpPr>
            <a:cxnSpLocks/>
            <a:stCxn id="55" idx="3"/>
            <a:endCxn id="34" idx="0"/>
          </p:cNvCxnSpPr>
          <p:nvPr/>
        </p:nvCxnSpPr>
        <p:spPr>
          <a:xfrm flipV="1">
            <a:off x="6930937" y="1513678"/>
            <a:ext cx="1371759" cy="1138510"/>
          </a:xfrm>
          <a:prstGeom prst="bentConnector4">
            <a:avLst>
              <a:gd name="adj1" fmla="val 33311"/>
              <a:gd name="adj2" fmla="val 118515"/>
            </a:avLst>
          </a:prstGeom>
          <a:ln w="19050">
            <a:solidFill>
              <a:schemeClr val="tx1">
                <a:lumMod val="95000"/>
                <a:lumOff val="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1ED669ED-3B94-3EFD-B5AA-B6D3D59045ED}"/>
              </a:ext>
            </a:extLst>
          </p:cNvPr>
          <p:cNvCxnSpPr>
            <a:cxnSpLocks/>
            <a:stCxn id="20" idx="5"/>
          </p:cNvCxnSpPr>
          <p:nvPr/>
        </p:nvCxnSpPr>
        <p:spPr>
          <a:xfrm flipV="1">
            <a:off x="2685476" y="2652187"/>
            <a:ext cx="476260" cy="127441"/>
          </a:xfrm>
          <a:prstGeom prst="bentConnector3">
            <a:avLst>
              <a:gd name="adj1" fmla="val 50000"/>
            </a:avLst>
          </a:prstGeom>
          <a:ln w="19050">
            <a:solidFill>
              <a:schemeClr val="tx1">
                <a:lumMod val="95000"/>
                <a:lumOff val="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AF290BD3-040A-EDDA-4823-D327FE4FA713}"/>
              </a:ext>
            </a:extLst>
          </p:cNvPr>
          <p:cNvCxnSpPr>
            <a:cxnSpLocks/>
            <a:stCxn id="61" idx="3"/>
            <a:endCxn id="41" idx="0"/>
          </p:cNvCxnSpPr>
          <p:nvPr/>
        </p:nvCxnSpPr>
        <p:spPr>
          <a:xfrm>
            <a:off x="9067270" y="2549786"/>
            <a:ext cx="1869552" cy="212334"/>
          </a:xfrm>
          <a:prstGeom prst="bentConnector2">
            <a:avLst/>
          </a:prstGeom>
          <a:ln w="19050">
            <a:solidFill>
              <a:schemeClr val="tx1">
                <a:lumMod val="95000"/>
                <a:lumOff val="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503E1018-88C6-14E5-AA28-C350A110F33D}"/>
              </a:ext>
            </a:extLst>
          </p:cNvPr>
          <p:cNvSpPr/>
          <p:nvPr/>
        </p:nvSpPr>
        <p:spPr>
          <a:xfrm>
            <a:off x="5601605" y="4495746"/>
            <a:ext cx="455550" cy="42818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82" name="Group 81">
            <a:extLst>
              <a:ext uri="{FF2B5EF4-FFF2-40B4-BE49-F238E27FC236}">
                <a16:creationId xmlns:a16="http://schemas.microsoft.com/office/drawing/2014/main" id="{8B9F1E14-C550-C303-253D-8F4ECD395A7C}"/>
              </a:ext>
            </a:extLst>
          </p:cNvPr>
          <p:cNvGrpSpPr/>
          <p:nvPr/>
        </p:nvGrpSpPr>
        <p:grpSpPr>
          <a:xfrm>
            <a:off x="5720342" y="4571921"/>
            <a:ext cx="218078" cy="275830"/>
            <a:chOff x="9865845" y="3867459"/>
            <a:chExt cx="385763" cy="519113"/>
          </a:xfrm>
        </p:grpSpPr>
        <p:sp>
          <p:nvSpPr>
            <p:cNvPr id="83" name="Freeform 147">
              <a:extLst>
                <a:ext uri="{FF2B5EF4-FFF2-40B4-BE49-F238E27FC236}">
                  <a16:creationId xmlns:a16="http://schemas.microsoft.com/office/drawing/2014/main" id="{5F8E5629-7E86-0108-8902-987E89BF5C43}"/>
                </a:ext>
              </a:extLst>
            </p:cNvPr>
            <p:cNvSpPr>
              <a:spLocks/>
            </p:cNvSpPr>
            <p:nvPr/>
          </p:nvSpPr>
          <p:spPr bwMode="auto">
            <a:xfrm>
              <a:off x="9865845" y="3867459"/>
              <a:ext cx="327024" cy="463551"/>
            </a:xfrm>
            <a:custGeom>
              <a:avLst/>
              <a:gdLst/>
              <a:ahLst/>
              <a:cxnLst>
                <a:cxn ang="0">
                  <a:pos x="126" y="138"/>
                </a:cxn>
                <a:cxn ang="0">
                  <a:pos x="126" y="22"/>
                </a:cxn>
                <a:cxn ang="0">
                  <a:pos x="121" y="18"/>
                </a:cxn>
                <a:cxn ang="0">
                  <a:pos x="89" y="18"/>
                </a:cxn>
                <a:cxn ang="0">
                  <a:pos x="89" y="5"/>
                </a:cxn>
                <a:cxn ang="0">
                  <a:pos x="84" y="0"/>
                </a:cxn>
                <a:cxn ang="0">
                  <a:pos x="41" y="0"/>
                </a:cxn>
                <a:cxn ang="0">
                  <a:pos x="36" y="5"/>
                </a:cxn>
                <a:cxn ang="0">
                  <a:pos x="36" y="18"/>
                </a:cxn>
                <a:cxn ang="0">
                  <a:pos x="4" y="18"/>
                </a:cxn>
                <a:cxn ang="0">
                  <a:pos x="0" y="22"/>
                </a:cxn>
                <a:cxn ang="0">
                  <a:pos x="0" y="172"/>
                </a:cxn>
                <a:cxn ang="0">
                  <a:pos x="4" y="176"/>
                </a:cxn>
                <a:cxn ang="0">
                  <a:pos x="67" y="176"/>
                </a:cxn>
              </a:cxnLst>
              <a:rect l="0" t="0" r="r" b="b"/>
              <a:pathLst>
                <a:path w="126" h="176">
                  <a:moveTo>
                    <a:pt x="126" y="138"/>
                  </a:moveTo>
                  <a:cubicBezTo>
                    <a:pt x="126" y="22"/>
                    <a:pt x="126" y="22"/>
                    <a:pt x="126" y="22"/>
                  </a:cubicBezTo>
                  <a:cubicBezTo>
                    <a:pt x="126" y="20"/>
                    <a:pt x="124" y="18"/>
                    <a:pt x="121" y="18"/>
                  </a:cubicBezTo>
                  <a:cubicBezTo>
                    <a:pt x="89" y="18"/>
                    <a:pt x="89" y="18"/>
                    <a:pt x="89" y="18"/>
                  </a:cubicBezTo>
                  <a:cubicBezTo>
                    <a:pt x="89" y="5"/>
                    <a:pt x="89" y="5"/>
                    <a:pt x="89" y="5"/>
                  </a:cubicBezTo>
                  <a:cubicBezTo>
                    <a:pt x="89" y="2"/>
                    <a:pt x="87" y="0"/>
                    <a:pt x="84" y="0"/>
                  </a:cubicBezTo>
                  <a:cubicBezTo>
                    <a:pt x="41" y="0"/>
                    <a:pt x="41" y="0"/>
                    <a:pt x="41" y="0"/>
                  </a:cubicBezTo>
                  <a:cubicBezTo>
                    <a:pt x="38" y="0"/>
                    <a:pt x="36" y="2"/>
                    <a:pt x="36" y="5"/>
                  </a:cubicBezTo>
                  <a:cubicBezTo>
                    <a:pt x="36" y="18"/>
                    <a:pt x="36" y="18"/>
                    <a:pt x="36" y="18"/>
                  </a:cubicBezTo>
                  <a:cubicBezTo>
                    <a:pt x="4" y="18"/>
                    <a:pt x="4" y="18"/>
                    <a:pt x="4" y="18"/>
                  </a:cubicBezTo>
                  <a:cubicBezTo>
                    <a:pt x="2" y="18"/>
                    <a:pt x="0" y="20"/>
                    <a:pt x="0" y="22"/>
                  </a:cubicBezTo>
                  <a:cubicBezTo>
                    <a:pt x="0" y="172"/>
                    <a:pt x="0" y="172"/>
                    <a:pt x="0" y="172"/>
                  </a:cubicBezTo>
                  <a:cubicBezTo>
                    <a:pt x="0" y="174"/>
                    <a:pt x="2" y="176"/>
                    <a:pt x="4" y="176"/>
                  </a:cubicBezTo>
                  <a:cubicBezTo>
                    <a:pt x="67" y="176"/>
                    <a:pt x="67" y="176"/>
                    <a:pt x="67" y="176"/>
                  </a:cubicBezTo>
                </a:path>
              </a:pathLst>
            </a:cu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84" name="Oval 148">
              <a:extLst>
                <a:ext uri="{FF2B5EF4-FFF2-40B4-BE49-F238E27FC236}">
                  <a16:creationId xmlns:a16="http://schemas.microsoft.com/office/drawing/2014/main" id="{EB3F1578-5316-BC55-FE5A-6D14BCEA3749}"/>
                </a:ext>
              </a:extLst>
            </p:cNvPr>
            <p:cNvSpPr>
              <a:spLocks noChangeArrowheads="1"/>
            </p:cNvSpPr>
            <p:nvPr/>
          </p:nvSpPr>
          <p:spPr bwMode="auto">
            <a:xfrm>
              <a:off x="9934107" y="4010334"/>
              <a:ext cx="65087" cy="63501"/>
            </a:xfrm>
            <a:prstGeom prst="ellipse">
              <a:avLst/>
            </a:pr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85" name="Oval 149">
              <a:extLst>
                <a:ext uri="{FF2B5EF4-FFF2-40B4-BE49-F238E27FC236}">
                  <a16:creationId xmlns:a16="http://schemas.microsoft.com/office/drawing/2014/main" id="{EB0D5D3D-4BC5-2A4E-56D4-E762C920ED2A}"/>
                </a:ext>
              </a:extLst>
            </p:cNvPr>
            <p:cNvSpPr>
              <a:spLocks noChangeArrowheads="1"/>
            </p:cNvSpPr>
            <p:nvPr/>
          </p:nvSpPr>
          <p:spPr bwMode="auto">
            <a:xfrm>
              <a:off x="9934107" y="4102408"/>
              <a:ext cx="65087" cy="61913"/>
            </a:xfrm>
            <a:prstGeom prst="ellipse">
              <a:avLst/>
            </a:pr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86" name="Oval 150">
              <a:extLst>
                <a:ext uri="{FF2B5EF4-FFF2-40B4-BE49-F238E27FC236}">
                  <a16:creationId xmlns:a16="http://schemas.microsoft.com/office/drawing/2014/main" id="{E6E921D4-B94A-DC82-AF43-09986A38C4A3}"/>
                </a:ext>
              </a:extLst>
            </p:cNvPr>
            <p:cNvSpPr>
              <a:spLocks noChangeArrowheads="1"/>
            </p:cNvSpPr>
            <p:nvPr/>
          </p:nvSpPr>
          <p:spPr bwMode="auto">
            <a:xfrm>
              <a:off x="9934107" y="4192897"/>
              <a:ext cx="65087" cy="65086"/>
            </a:xfrm>
            <a:prstGeom prst="ellipse">
              <a:avLst/>
            </a:pr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87" name="Freeform 151">
              <a:extLst>
                <a:ext uri="{FF2B5EF4-FFF2-40B4-BE49-F238E27FC236}">
                  <a16:creationId xmlns:a16="http://schemas.microsoft.com/office/drawing/2014/main" id="{9DBE62F5-205E-35D2-EE7C-4FECB176D47D}"/>
                </a:ext>
              </a:extLst>
            </p:cNvPr>
            <p:cNvSpPr>
              <a:spLocks/>
            </p:cNvSpPr>
            <p:nvPr/>
          </p:nvSpPr>
          <p:spPr bwMode="auto">
            <a:xfrm>
              <a:off x="9961095" y="3923021"/>
              <a:ext cx="134938" cy="25399"/>
            </a:xfrm>
            <a:custGeom>
              <a:avLst/>
              <a:gdLst/>
              <a:ahLst/>
              <a:cxnLst>
                <a:cxn ang="0">
                  <a:pos x="53" y="0"/>
                </a:cxn>
                <a:cxn ang="0">
                  <a:pos x="53" y="5"/>
                </a:cxn>
                <a:cxn ang="0">
                  <a:pos x="48" y="10"/>
                </a:cxn>
                <a:cxn ang="0">
                  <a:pos x="5" y="10"/>
                </a:cxn>
                <a:cxn ang="0">
                  <a:pos x="0" y="5"/>
                </a:cxn>
                <a:cxn ang="0">
                  <a:pos x="0" y="1"/>
                </a:cxn>
              </a:cxnLst>
              <a:rect l="0" t="0" r="r" b="b"/>
              <a:pathLst>
                <a:path w="53" h="10">
                  <a:moveTo>
                    <a:pt x="53" y="0"/>
                  </a:moveTo>
                  <a:cubicBezTo>
                    <a:pt x="53" y="5"/>
                    <a:pt x="53" y="5"/>
                    <a:pt x="53" y="5"/>
                  </a:cubicBezTo>
                  <a:cubicBezTo>
                    <a:pt x="53" y="8"/>
                    <a:pt x="51" y="10"/>
                    <a:pt x="48" y="10"/>
                  </a:cubicBezTo>
                  <a:cubicBezTo>
                    <a:pt x="5" y="10"/>
                    <a:pt x="5" y="10"/>
                    <a:pt x="5" y="10"/>
                  </a:cubicBezTo>
                  <a:cubicBezTo>
                    <a:pt x="2" y="10"/>
                    <a:pt x="0" y="8"/>
                    <a:pt x="0" y="5"/>
                  </a:cubicBezTo>
                  <a:cubicBezTo>
                    <a:pt x="0" y="1"/>
                    <a:pt x="0" y="1"/>
                    <a:pt x="0" y="1"/>
                  </a:cubicBezTo>
                </a:path>
              </a:pathLst>
            </a:cu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88" name="Line 152">
              <a:extLst>
                <a:ext uri="{FF2B5EF4-FFF2-40B4-BE49-F238E27FC236}">
                  <a16:creationId xmlns:a16="http://schemas.microsoft.com/office/drawing/2014/main" id="{D0CFAE74-6C6A-397A-6658-3277974469D4}"/>
                </a:ext>
              </a:extLst>
            </p:cNvPr>
            <p:cNvSpPr>
              <a:spLocks noChangeShapeType="1"/>
            </p:cNvSpPr>
            <p:nvPr/>
          </p:nvSpPr>
          <p:spPr bwMode="auto">
            <a:xfrm>
              <a:off x="10032532" y="4021447"/>
              <a:ext cx="73026" cy="3175"/>
            </a:xfrm>
            <a:prstGeom prst="line">
              <a:avLst/>
            </a:pr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89" name="Line 153">
              <a:extLst>
                <a:ext uri="{FF2B5EF4-FFF2-40B4-BE49-F238E27FC236}">
                  <a16:creationId xmlns:a16="http://schemas.microsoft.com/office/drawing/2014/main" id="{C1A69594-ECF4-32DB-E61E-CFF8979E7B46}"/>
                </a:ext>
              </a:extLst>
            </p:cNvPr>
            <p:cNvSpPr>
              <a:spLocks noChangeShapeType="1"/>
            </p:cNvSpPr>
            <p:nvPr/>
          </p:nvSpPr>
          <p:spPr bwMode="auto">
            <a:xfrm>
              <a:off x="10032532" y="4134159"/>
              <a:ext cx="73026" cy="1587"/>
            </a:xfrm>
            <a:prstGeom prst="line">
              <a:avLst/>
            </a:pr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90" name="Line 154">
              <a:extLst>
                <a:ext uri="{FF2B5EF4-FFF2-40B4-BE49-F238E27FC236}">
                  <a16:creationId xmlns:a16="http://schemas.microsoft.com/office/drawing/2014/main" id="{181BCFDE-54DB-59B5-9FD6-17ADFA7529C3}"/>
                </a:ext>
              </a:extLst>
            </p:cNvPr>
            <p:cNvSpPr>
              <a:spLocks noChangeShapeType="1"/>
            </p:cNvSpPr>
            <p:nvPr/>
          </p:nvSpPr>
          <p:spPr bwMode="auto">
            <a:xfrm>
              <a:off x="10032532" y="4232584"/>
              <a:ext cx="30163" cy="3175"/>
            </a:xfrm>
            <a:prstGeom prst="line">
              <a:avLst/>
            </a:pr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91" name="Freeform 155">
              <a:extLst>
                <a:ext uri="{FF2B5EF4-FFF2-40B4-BE49-F238E27FC236}">
                  <a16:creationId xmlns:a16="http://schemas.microsoft.com/office/drawing/2014/main" id="{E0A8489C-C891-0036-956B-6F317A69C65C}"/>
                </a:ext>
              </a:extLst>
            </p:cNvPr>
            <p:cNvSpPr>
              <a:spLocks/>
            </p:cNvSpPr>
            <p:nvPr/>
          </p:nvSpPr>
          <p:spPr bwMode="auto">
            <a:xfrm>
              <a:off x="10051583" y="4184959"/>
              <a:ext cx="200025" cy="201613"/>
            </a:xfrm>
            <a:custGeom>
              <a:avLst/>
              <a:gdLst/>
              <a:ahLst/>
              <a:cxnLst>
                <a:cxn ang="0">
                  <a:pos x="77" y="66"/>
                </a:cxn>
                <a:cxn ang="0">
                  <a:pos x="53" y="43"/>
                </a:cxn>
                <a:cxn ang="0">
                  <a:pos x="49" y="11"/>
                </a:cxn>
                <a:cxn ang="0">
                  <a:pos x="11" y="11"/>
                </a:cxn>
                <a:cxn ang="0">
                  <a:pos x="11" y="49"/>
                </a:cxn>
                <a:cxn ang="0">
                  <a:pos x="43" y="53"/>
                </a:cxn>
                <a:cxn ang="0">
                  <a:pos x="67" y="76"/>
                </a:cxn>
              </a:cxnLst>
              <a:rect l="0" t="0" r="r" b="b"/>
              <a:pathLst>
                <a:path w="77" h="76">
                  <a:moveTo>
                    <a:pt x="77" y="66"/>
                  </a:moveTo>
                  <a:cubicBezTo>
                    <a:pt x="53" y="43"/>
                    <a:pt x="53" y="43"/>
                    <a:pt x="53" y="43"/>
                  </a:cubicBezTo>
                  <a:cubicBezTo>
                    <a:pt x="59" y="33"/>
                    <a:pt x="58" y="19"/>
                    <a:pt x="49" y="11"/>
                  </a:cubicBezTo>
                  <a:cubicBezTo>
                    <a:pt x="38" y="0"/>
                    <a:pt x="21" y="0"/>
                    <a:pt x="11" y="11"/>
                  </a:cubicBezTo>
                  <a:cubicBezTo>
                    <a:pt x="0" y="21"/>
                    <a:pt x="0" y="38"/>
                    <a:pt x="11" y="49"/>
                  </a:cubicBezTo>
                  <a:cubicBezTo>
                    <a:pt x="20" y="57"/>
                    <a:pt x="33" y="59"/>
                    <a:pt x="43" y="53"/>
                  </a:cubicBezTo>
                  <a:cubicBezTo>
                    <a:pt x="67" y="76"/>
                    <a:pt x="67" y="76"/>
                    <a:pt x="67" y="76"/>
                  </a:cubicBezTo>
                </a:path>
              </a:pathLst>
            </a:cu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92" name="Line 156">
              <a:extLst>
                <a:ext uri="{FF2B5EF4-FFF2-40B4-BE49-F238E27FC236}">
                  <a16:creationId xmlns:a16="http://schemas.microsoft.com/office/drawing/2014/main" id="{8C1490BD-AE5E-9D5F-33FE-3107125588E2}"/>
                </a:ext>
              </a:extLst>
            </p:cNvPr>
            <p:cNvSpPr>
              <a:spLocks noChangeShapeType="1"/>
            </p:cNvSpPr>
            <p:nvPr/>
          </p:nvSpPr>
          <p:spPr bwMode="auto">
            <a:xfrm>
              <a:off x="10129371" y="4227822"/>
              <a:ext cx="1588" cy="74612"/>
            </a:xfrm>
            <a:prstGeom prst="line">
              <a:avLst/>
            </a:pr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93" name="Line 157">
              <a:extLst>
                <a:ext uri="{FF2B5EF4-FFF2-40B4-BE49-F238E27FC236}">
                  <a16:creationId xmlns:a16="http://schemas.microsoft.com/office/drawing/2014/main" id="{65B6251C-2C60-1865-96BC-7C15D308E391}"/>
                </a:ext>
              </a:extLst>
            </p:cNvPr>
            <p:cNvSpPr>
              <a:spLocks noChangeShapeType="1"/>
            </p:cNvSpPr>
            <p:nvPr/>
          </p:nvSpPr>
          <p:spPr bwMode="auto">
            <a:xfrm flipH="1">
              <a:off x="10092858" y="4265922"/>
              <a:ext cx="74613" cy="3175"/>
            </a:xfrm>
            <a:prstGeom prst="line">
              <a:avLst/>
            </a:pr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grpSp>
      <p:sp>
        <p:nvSpPr>
          <p:cNvPr id="94" name="Oval 93">
            <a:extLst>
              <a:ext uri="{FF2B5EF4-FFF2-40B4-BE49-F238E27FC236}">
                <a16:creationId xmlns:a16="http://schemas.microsoft.com/office/drawing/2014/main" id="{4BC49F92-2421-41EB-FDB0-3C47D53EC674}"/>
              </a:ext>
            </a:extLst>
          </p:cNvPr>
          <p:cNvSpPr/>
          <p:nvPr/>
        </p:nvSpPr>
        <p:spPr>
          <a:xfrm>
            <a:off x="8284582" y="4327630"/>
            <a:ext cx="455550" cy="42818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95" name="Group 94">
            <a:extLst>
              <a:ext uri="{FF2B5EF4-FFF2-40B4-BE49-F238E27FC236}">
                <a16:creationId xmlns:a16="http://schemas.microsoft.com/office/drawing/2014/main" id="{316230C6-E74A-C8C6-CFFC-44E659B1A4FB}"/>
              </a:ext>
            </a:extLst>
          </p:cNvPr>
          <p:cNvGrpSpPr/>
          <p:nvPr/>
        </p:nvGrpSpPr>
        <p:grpSpPr>
          <a:xfrm>
            <a:off x="8375296" y="4397617"/>
            <a:ext cx="274123" cy="288205"/>
            <a:chOff x="9613881" y="3293112"/>
            <a:chExt cx="279420" cy="312552"/>
          </a:xfrm>
        </p:grpSpPr>
        <p:grpSp>
          <p:nvGrpSpPr>
            <p:cNvPr id="96" name="Group 95">
              <a:extLst>
                <a:ext uri="{FF2B5EF4-FFF2-40B4-BE49-F238E27FC236}">
                  <a16:creationId xmlns:a16="http://schemas.microsoft.com/office/drawing/2014/main" id="{576C972A-C3B0-ADCE-1FAF-99DD9D391BE0}"/>
                </a:ext>
              </a:extLst>
            </p:cNvPr>
            <p:cNvGrpSpPr/>
            <p:nvPr/>
          </p:nvGrpSpPr>
          <p:grpSpPr>
            <a:xfrm>
              <a:off x="9669102" y="3293112"/>
              <a:ext cx="224199" cy="229720"/>
              <a:chOff x="7745413" y="2790825"/>
              <a:chExt cx="322262" cy="330200"/>
            </a:xfrm>
          </p:grpSpPr>
          <p:sp>
            <p:nvSpPr>
              <p:cNvPr id="99" name="Freeform 29">
                <a:extLst>
                  <a:ext uri="{FF2B5EF4-FFF2-40B4-BE49-F238E27FC236}">
                    <a16:creationId xmlns:a16="http://schemas.microsoft.com/office/drawing/2014/main" id="{E36639D1-E598-0973-8DD2-7B7342D66BD2}"/>
                  </a:ext>
                </a:extLst>
              </p:cNvPr>
              <p:cNvSpPr>
                <a:spLocks/>
              </p:cNvSpPr>
              <p:nvPr/>
            </p:nvSpPr>
            <p:spPr bwMode="auto">
              <a:xfrm rot="691078">
                <a:off x="7750175" y="2914650"/>
                <a:ext cx="285750" cy="188913"/>
              </a:xfrm>
              <a:custGeom>
                <a:avLst/>
                <a:gdLst>
                  <a:gd name="T0" fmla="*/ 0 w 200"/>
                  <a:gd name="T1" fmla="*/ 42 h 139"/>
                  <a:gd name="T2" fmla="*/ 0 w 200"/>
                  <a:gd name="T3" fmla="*/ 0 h 139"/>
                  <a:gd name="T4" fmla="*/ 200 w 200"/>
                  <a:gd name="T5" fmla="*/ 0 h 139"/>
                  <a:gd name="T6" fmla="*/ 200 w 200"/>
                  <a:gd name="T7" fmla="*/ 139 h 139"/>
                  <a:gd name="T8" fmla="*/ 0 w 200"/>
                  <a:gd name="T9" fmla="*/ 139 h 139"/>
                  <a:gd name="T10" fmla="*/ 0 w 200"/>
                  <a:gd name="T11" fmla="*/ 103 h 139"/>
                </a:gdLst>
                <a:ahLst/>
                <a:cxnLst>
                  <a:cxn ang="0">
                    <a:pos x="T0" y="T1"/>
                  </a:cxn>
                  <a:cxn ang="0">
                    <a:pos x="T2" y="T3"/>
                  </a:cxn>
                  <a:cxn ang="0">
                    <a:pos x="T4" y="T5"/>
                  </a:cxn>
                  <a:cxn ang="0">
                    <a:pos x="T6" y="T7"/>
                  </a:cxn>
                  <a:cxn ang="0">
                    <a:pos x="T8" y="T9"/>
                  </a:cxn>
                  <a:cxn ang="0">
                    <a:pos x="T10" y="T11"/>
                  </a:cxn>
                </a:cxnLst>
                <a:rect l="0" t="0" r="r" b="b"/>
                <a:pathLst>
                  <a:path w="200" h="139">
                    <a:moveTo>
                      <a:pt x="0" y="42"/>
                    </a:moveTo>
                    <a:lnTo>
                      <a:pt x="0" y="0"/>
                    </a:lnTo>
                    <a:lnTo>
                      <a:pt x="200" y="0"/>
                    </a:lnTo>
                    <a:lnTo>
                      <a:pt x="200" y="139"/>
                    </a:lnTo>
                    <a:lnTo>
                      <a:pt x="0" y="139"/>
                    </a:lnTo>
                    <a:lnTo>
                      <a:pt x="0" y="103"/>
                    </a:lnTo>
                  </a:path>
                </a:pathLst>
              </a:custGeom>
              <a:noFill/>
              <a:ln w="9525" cap="flat">
                <a:solidFill>
                  <a:schemeClr val="bg1"/>
                </a:solidFill>
                <a:prstDash val="solid"/>
                <a:miter lim="800000"/>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100" name="Freeform 30">
                <a:extLst>
                  <a:ext uri="{FF2B5EF4-FFF2-40B4-BE49-F238E27FC236}">
                    <a16:creationId xmlns:a16="http://schemas.microsoft.com/office/drawing/2014/main" id="{2FADD28C-5B3E-6E28-13F1-B5E3464D1AF9}"/>
                  </a:ext>
                </a:extLst>
              </p:cNvPr>
              <p:cNvSpPr>
                <a:spLocks/>
              </p:cNvSpPr>
              <p:nvPr/>
            </p:nvSpPr>
            <p:spPr bwMode="auto">
              <a:xfrm rot="691078">
                <a:off x="7745413" y="2968625"/>
                <a:ext cx="288925" cy="138113"/>
              </a:xfrm>
              <a:custGeom>
                <a:avLst/>
                <a:gdLst>
                  <a:gd name="T0" fmla="*/ 202 w 202"/>
                  <a:gd name="T1" fmla="*/ 101 h 101"/>
                  <a:gd name="T2" fmla="*/ 101 w 202"/>
                  <a:gd name="T3" fmla="*/ 0 h 101"/>
                  <a:gd name="T4" fmla="*/ 0 w 202"/>
                  <a:gd name="T5" fmla="*/ 101 h 101"/>
                </a:gdLst>
                <a:ahLst/>
                <a:cxnLst>
                  <a:cxn ang="0">
                    <a:pos x="T0" y="T1"/>
                  </a:cxn>
                  <a:cxn ang="0">
                    <a:pos x="T2" y="T3"/>
                  </a:cxn>
                  <a:cxn ang="0">
                    <a:pos x="T4" y="T5"/>
                  </a:cxn>
                </a:cxnLst>
                <a:rect l="0" t="0" r="r" b="b"/>
                <a:pathLst>
                  <a:path w="202" h="101">
                    <a:moveTo>
                      <a:pt x="202" y="101"/>
                    </a:moveTo>
                    <a:lnTo>
                      <a:pt x="101" y="0"/>
                    </a:lnTo>
                    <a:lnTo>
                      <a:pt x="0" y="101"/>
                    </a:lnTo>
                  </a:path>
                </a:pathLst>
              </a:custGeom>
              <a:noFill/>
              <a:ln w="9525" cap="flat">
                <a:solidFill>
                  <a:schemeClr val="bg1"/>
                </a:solidFill>
                <a:prstDash val="solid"/>
                <a:miter lim="800000"/>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101" name="Freeform 31">
                <a:extLst>
                  <a:ext uri="{FF2B5EF4-FFF2-40B4-BE49-F238E27FC236}">
                    <a16:creationId xmlns:a16="http://schemas.microsoft.com/office/drawing/2014/main" id="{A5170CCD-179D-F0D3-A394-842C2AD3BE01}"/>
                  </a:ext>
                </a:extLst>
              </p:cNvPr>
              <p:cNvSpPr>
                <a:spLocks/>
              </p:cNvSpPr>
              <p:nvPr/>
            </p:nvSpPr>
            <p:spPr bwMode="auto">
              <a:xfrm rot="691078">
                <a:off x="7778750" y="2790825"/>
                <a:ext cx="280988" cy="330200"/>
              </a:xfrm>
              <a:custGeom>
                <a:avLst/>
                <a:gdLst>
                  <a:gd name="T0" fmla="*/ 0 w 200"/>
                  <a:gd name="T1" fmla="*/ 205 h 241"/>
                  <a:gd name="T2" fmla="*/ 0 w 200"/>
                  <a:gd name="T3" fmla="*/ 241 h 241"/>
                  <a:gd name="T4" fmla="*/ 200 w 200"/>
                  <a:gd name="T5" fmla="*/ 241 h 241"/>
                  <a:gd name="T6" fmla="*/ 200 w 200"/>
                  <a:gd name="T7" fmla="*/ 102 h 241"/>
                  <a:gd name="T8" fmla="*/ 101 w 200"/>
                  <a:gd name="T9" fmla="*/ 0 h 241"/>
                  <a:gd name="T10" fmla="*/ 0 w 200"/>
                  <a:gd name="T11" fmla="*/ 102 h 241"/>
                  <a:gd name="T12" fmla="*/ 0 w 200"/>
                  <a:gd name="T13" fmla="*/ 144 h 241"/>
                </a:gdLst>
                <a:ahLst/>
                <a:cxnLst>
                  <a:cxn ang="0">
                    <a:pos x="T0" y="T1"/>
                  </a:cxn>
                  <a:cxn ang="0">
                    <a:pos x="T2" y="T3"/>
                  </a:cxn>
                  <a:cxn ang="0">
                    <a:pos x="T4" y="T5"/>
                  </a:cxn>
                  <a:cxn ang="0">
                    <a:pos x="T6" y="T7"/>
                  </a:cxn>
                  <a:cxn ang="0">
                    <a:pos x="T8" y="T9"/>
                  </a:cxn>
                  <a:cxn ang="0">
                    <a:pos x="T10" y="T11"/>
                  </a:cxn>
                  <a:cxn ang="0">
                    <a:pos x="T12" y="T13"/>
                  </a:cxn>
                </a:cxnLst>
                <a:rect l="0" t="0" r="r" b="b"/>
                <a:pathLst>
                  <a:path w="200" h="241">
                    <a:moveTo>
                      <a:pt x="0" y="205"/>
                    </a:moveTo>
                    <a:lnTo>
                      <a:pt x="0" y="241"/>
                    </a:lnTo>
                    <a:lnTo>
                      <a:pt x="200" y="241"/>
                    </a:lnTo>
                    <a:lnTo>
                      <a:pt x="200" y="102"/>
                    </a:lnTo>
                    <a:lnTo>
                      <a:pt x="101" y="0"/>
                    </a:lnTo>
                    <a:lnTo>
                      <a:pt x="0" y="102"/>
                    </a:lnTo>
                    <a:lnTo>
                      <a:pt x="0" y="144"/>
                    </a:lnTo>
                  </a:path>
                </a:pathLst>
              </a:custGeom>
              <a:noFill/>
              <a:ln w="9525" cap="flat">
                <a:solidFill>
                  <a:schemeClr val="bg1"/>
                </a:solidFill>
                <a:prstDash val="solid"/>
                <a:miter lim="800000"/>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102" name="Line 32">
                <a:extLst>
                  <a:ext uri="{FF2B5EF4-FFF2-40B4-BE49-F238E27FC236}">
                    <a16:creationId xmlns:a16="http://schemas.microsoft.com/office/drawing/2014/main" id="{1B975E67-233A-F3BD-7235-A06687E9732B}"/>
                  </a:ext>
                </a:extLst>
              </p:cNvPr>
              <p:cNvSpPr>
                <a:spLocks noChangeShapeType="1"/>
              </p:cNvSpPr>
              <p:nvPr/>
            </p:nvSpPr>
            <p:spPr bwMode="auto">
              <a:xfrm rot="691078" flipH="1" flipV="1">
                <a:off x="7758113" y="2901950"/>
                <a:ext cx="100012" cy="96838"/>
              </a:xfrm>
              <a:prstGeom prst="line">
                <a:avLst/>
              </a:prstGeom>
              <a:noFill/>
              <a:ln w="9525" cap="flat">
                <a:solidFill>
                  <a:schemeClr val="bg1"/>
                </a:solidFill>
                <a:prstDash val="solid"/>
                <a:miter lim="800000"/>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103" name="Line 33">
                <a:extLst>
                  <a:ext uri="{FF2B5EF4-FFF2-40B4-BE49-F238E27FC236}">
                    <a16:creationId xmlns:a16="http://schemas.microsoft.com/office/drawing/2014/main" id="{63456882-8D7A-EEE1-F8D8-5AC8D65DB998}"/>
                  </a:ext>
                </a:extLst>
              </p:cNvPr>
              <p:cNvSpPr>
                <a:spLocks noChangeShapeType="1"/>
              </p:cNvSpPr>
              <p:nvPr/>
            </p:nvSpPr>
            <p:spPr bwMode="auto">
              <a:xfrm rot="691078" flipH="1">
                <a:off x="7972425" y="2957513"/>
                <a:ext cx="95250" cy="95250"/>
              </a:xfrm>
              <a:prstGeom prst="line">
                <a:avLst/>
              </a:prstGeom>
              <a:noFill/>
              <a:ln w="9525" cap="flat">
                <a:solidFill>
                  <a:schemeClr val="bg1"/>
                </a:solidFill>
                <a:prstDash val="solid"/>
                <a:miter lim="800000"/>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ysClr val="windowText" lastClr="000000"/>
                  </a:solidFill>
                  <a:effectLst/>
                  <a:uLnTx/>
                  <a:uFillTx/>
                  <a:latin typeface="Verdana"/>
                  <a:ea typeface="+mn-ea"/>
                  <a:cs typeface="+mn-cs"/>
                </a:endParaRPr>
              </a:p>
            </p:txBody>
          </p:sp>
        </p:grpSp>
        <p:sp>
          <p:nvSpPr>
            <p:cNvPr id="97" name="TextBox 96">
              <a:extLst>
                <a:ext uri="{FF2B5EF4-FFF2-40B4-BE49-F238E27FC236}">
                  <a16:creationId xmlns:a16="http://schemas.microsoft.com/office/drawing/2014/main" id="{9358D858-90C5-2799-BAC3-5367EEF5BB1C}"/>
                </a:ext>
              </a:extLst>
            </p:cNvPr>
            <p:cNvSpPr txBox="1">
              <a:spLocks/>
            </p:cNvSpPr>
            <p:nvPr/>
          </p:nvSpPr>
          <p:spPr bwMode="auto">
            <a:xfrm>
              <a:off x="9618299" y="3438896"/>
              <a:ext cx="168977" cy="134740"/>
            </a:xfrm>
            <a:prstGeom prst="ellipse">
              <a:avLst/>
            </a:prstGeom>
            <a:solidFill>
              <a:sysClr val="window" lastClr="FFFFFF"/>
            </a:solidFill>
            <a:ln w="19050">
              <a:noFill/>
            </a:ln>
          </p:spPr>
          <p:txBody>
            <a:bodyPr wrap="none" anchor="ct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98C7"/>
                  </a:solidFill>
                  <a:effectLst/>
                  <a:uLnTx/>
                  <a:uFillTx/>
                  <a:latin typeface="Verdana"/>
                  <a:ea typeface="+mn-ea"/>
                  <a:cs typeface="+mn-cs"/>
                </a:rPr>
                <a:t>@</a:t>
              </a:r>
            </a:p>
          </p:txBody>
        </p:sp>
        <p:sp>
          <p:nvSpPr>
            <p:cNvPr id="98" name="Circular Arrow 179">
              <a:extLst>
                <a:ext uri="{FF2B5EF4-FFF2-40B4-BE49-F238E27FC236}">
                  <a16:creationId xmlns:a16="http://schemas.microsoft.com/office/drawing/2014/main" id="{2F46A7C7-5F93-F29F-EFC7-4AAC66BE2EC0}"/>
                </a:ext>
              </a:extLst>
            </p:cNvPr>
            <p:cNvSpPr>
              <a:spLocks/>
            </p:cNvSpPr>
            <p:nvPr/>
          </p:nvSpPr>
          <p:spPr bwMode="auto">
            <a:xfrm>
              <a:off x="9613881" y="3419016"/>
              <a:ext cx="186648" cy="186648"/>
            </a:xfrm>
            <a:prstGeom prst="circularArrow">
              <a:avLst>
                <a:gd name="adj1" fmla="val 6633"/>
                <a:gd name="adj2" fmla="val 1142319"/>
                <a:gd name="adj3" fmla="val 20265105"/>
                <a:gd name="adj4" fmla="val 761374"/>
                <a:gd name="adj5" fmla="val 8544"/>
              </a:avLst>
            </a:prstGeom>
            <a:solidFill>
              <a:srgbClr val="0098C7"/>
            </a:solidFill>
            <a:ln w="9525" cap="flat" cmpd="sng" algn="ctr">
              <a:solidFill>
                <a:schemeClr val="bg1"/>
              </a:solidFill>
              <a:prstDash val="solid"/>
            </a:ln>
            <a:effectLst/>
          </p:spPr>
          <p:txBody>
            <a:bodyPr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998C85">
                    <a:lumMod val="50000"/>
                  </a:srgbClr>
                </a:solidFill>
                <a:effectLst/>
                <a:uLnTx/>
                <a:uFillTx/>
                <a:latin typeface="Verdana"/>
                <a:ea typeface="+mn-ea"/>
                <a:cs typeface="+mn-cs"/>
              </a:endParaRPr>
            </a:p>
          </p:txBody>
        </p:sp>
      </p:grpSp>
      <p:sp>
        <p:nvSpPr>
          <p:cNvPr id="104" name="Rectangle 103">
            <a:extLst>
              <a:ext uri="{FF2B5EF4-FFF2-40B4-BE49-F238E27FC236}">
                <a16:creationId xmlns:a16="http://schemas.microsoft.com/office/drawing/2014/main" id="{0B37C946-719A-6581-1EFA-4A0AF887418C}"/>
              </a:ext>
            </a:extLst>
          </p:cNvPr>
          <p:cNvSpPr/>
          <p:nvPr/>
        </p:nvSpPr>
        <p:spPr>
          <a:xfrm>
            <a:off x="7720144" y="4660468"/>
            <a:ext cx="1768288" cy="42141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eport Issues &amp; Raise Defects</a:t>
            </a:r>
            <a:endParaRPr kumimoji="0" lang="en-US" sz="9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5" name="Rectangle 104">
            <a:extLst>
              <a:ext uri="{FF2B5EF4-FFF2-40B4-BE49-F238E27FC236}">
                <a16:creationId xmlns:a16="http://schemas.microsoft.com/office/drawing/2014/main" id="{0F5AB6C3-70C2-95C4-A99D-CA3081DFC0C5}"/>
              </a:ext>
            </a:extLst>
          </p:cNvPr>
          <p:cNvSpPr/>
          <p:nvPr/>
        </p:nvSpPr>
        <p:spPr>
          <a:xfrm>
            <a:off x="7744130" y="5030153"/>
            <a:ext cx="1744302" cy="34160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est Report Assessment &amp; Retest Recommendation</a:t>
            </a:r>
          </a:p>
        </p:txBody>
      </p:sp>
      <p:sp>
        <p:nvSpPr>
          <p:cNvPr id="106" name="Rectangle 105">
            <a:extLst>
              <a:ext uri="{FF2B5EF4-FFF2-40B4-BE49-F238E27FC236}">
                <a16:creationId xmlns:a16="http://schemas.microsoft.com/office/drawing/2014/main" id="{0DB5C04F-4FBB-6589-862B-70342430D611}"/>
              </a:ext>
            </a:extLst>
          </p:cNvPr>
          <p:cNvSpPr/>
          <p:nvPr/>
        </p:nvSpPr>
        <p:spPr>
          <a:xfrm>
            <a:off x="7744130" y="5419395"/>
            <a:ext cx="1744302" cy="28417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erform RCA for persistent defects</a:t>
            </a:r>
            <a:endParaRPr kumimoji="0" lang="en-US" sz="9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7" name="Rectangle 106">
            <a:extLst>
              <a:ext uri="{FF2B5EF4-FFF2-40B4-BE49-F238E27FC236}">
                <a16:creationId xmlns:a16="http://schemas.microsoft.com/office/drawing/2014/main" id="{ECF3D61F-8D83-01CD-5FFA-77C6900C59E7}"/>
              </a:ext>
            </a:extLst>
          </p:cNvPr>
          <p:cNvSpPr/>
          <p:nvPr/>
        </p:nvSpPr>
        <p:spPr>
          <a:xfrm>
            <a:off x="7744130" y="5748856"/>
            <a:ext cx="1744302" cy="28417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Upload Results</a:t>
            </a:r>
            <a:endParaRPr kumimoji="0" lang="en-US" sz="9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08" name="Oval 107">
            <a:extLst>
              <a:ext uri="{FF2B5EF4-FFF2-40B4-BE49-F238E27FC236}">
                <a16:creationId xmlns:a16="http://schemas.microsoft.com/office/drawing/2014/main" id="{ADE0C165-285D-EB72-6EF6-42654A942C85}"/>
              </a:ext>
            </a:extLst>
          </p:cNvPr>
          <p:cNvSpPr/>
          <p:nvPr/>
        </p:nvSpPr>
        <p:spPr>
          <a:xfrm>
            <a:off x="6818372" y="5344308"/>
            <a:ext cx="455550" cy="42818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109" name="Group 108">
            <a:extLst>
              <a:ext uri="{FF2B5EF4-FFF2-40B4-BE49-F238E27FC236}">
                <a16:creationId xmlns:a16="http://schemas.microsoft.com/office/drawing/2014/main" id="{56FBBDC0-A1E5-0171-47C5-3A1895FDCABA}"/>
              </a:ext>
            </a:extLst>
          </p:cNvPr>
          <p:cNvGrpSpPr/>
          <p:nvPr/>
        </p:nvGrpSpPr>
        <p:grpSpPr>
          <a:xfrm>
            <a:off x="6863870" y="5459519"/>
            <a:ext cx="364555" cy="197758"/>
            <a:chOff x="8035896" y="4587906"/>
            <a:chExt cx="446087" cy="257454"/>
          </a:xfrm>
        </p:grpSpPr>
        <p:sp>
          <p:nvSpPr>
            <p:cNvPr id="110" name="Freeform 1228">
              <a:extLst>
                <a:ext uri="{FF2B5EF4-FFF2-40B4-BE49-F238E27FC236}">
                  <a16:creationId xmlns:a16="http://schemas.microsoft.com/office/drawing/2014/main" id="{A6C8FD3F-6807-C2CD-B600-A08156D3E384}"/>
                </a:ext>
              </a:extLst>
            </p:cNvPr>
            <p:cNvSpPr>
              <a:spLocks/>
            </p:cNvSpPr>
            <p:nvPr/>
          </p:nvSpPr>
          <p:spPr bwMode="auto">
            <a:xfrm>
              <a:off x="8035896" y="4587906"/>
              <a:ext cx="446087" cy="249238"/>
            </a:xfrm>
            <a:custGeom>
              <a:avLst/>
              <a:gdLst>
                <a:gd name="T0" fmla="*/ 194780 w 206"/>
                <a:gd name="T1" fmla="*/ 141045 h 118"/>
                <a:gd name="T2" fmla="*/ 204855 w 206"/>
                <a:gd name="T3" fmla="*/ 164553 h 118"/>
                <a:gd name="T4" fmla="*/ 221646 w 206"/>
                <a:gd name="T5" fmla="*/ 183023 h 118"/>
                <a:gd name="T6" fmla="*/ 243475 w 206"/>
                <a:gd name="T7" fmla="*/ 194777 h 118"/>
                <a:gd name="T8" fmla="*/ 270341 w 206"/>
                <a:gd name="T9" fmla="*/ 198135 h 118"/>
                <a:gd name="T10" fmla="*/ 283774 w 206"/>
                <a:gd name="T11" fmla="*/ 196456 h 118"/>
                <a:gd name="T12" fmla="*/ 313998 w 206"/>
                <a:gd name="T13" fmla="*/ 186381 h 118"/>
                <a:gd name="T14" fmla="*/ 334148 w 206"/>
                <a:gd name="T15" fmla="*/ 166232 h 118"/>
                <a:gd name="T16" fmla="*/ 344223 w 206"/>
                <a:gd name="T17" fmla="*/ 137687 h 118"/>
                <a:gd name="T18" fmla="*/ 345902 w 206"/>
                <a:gd name="T19" fmla="*/ 122575 h 118"/>
                <a:gd name="T20" fmla="*/ 344223 w 206"/>
                <a:gd name="T21" fmla="*/ 102426 h 118"/>
                <a:gd name="T22" fmla="*/ 325752 w 206"/>
                <a:gd name="T23" fmla="*/ 68844 h 118"/>
                <a:gd name="T24" fmla="*/ 310640 w 206"/>
                <a:gd name="T25" fmla="*/ 57090 h 118"/>
                <a:gd name="T26" fmla="*/ 282095 w 206"/>
                <a:gd name="T27" fmla="*/ 40299 h 118"/>
                <a:gd name="T28" fmla="*/ 240116 w 206"/>
                <a:gd name="T29" fmla="*/ 25187 h 118"/>
                <a:gd name="T30" fmla="*/ 236758 w 206"/>
                <a:gd name="T31" fmla="*/ 15112 h 118"/>
                <a:gd name="T32" fmla="*/ 223325 w 206"/>
                <a:gd name="T33" fmla="*/ 1679 h 118"/>
                <a:gd name="T34" fmla="*/ 213250 w 206"/>
                <a:gd name="T35" fmla="*/ 0 h 118"/>
                <a:gd name="T36" fmla="*/ 198138 w 206"/>
                <a:gd name="T37" fmla="*/ 3358 h 118"/>
                <a:gd name="T38" fmla="*/ 189742 w 206"/>
                <a:gd name="T39" fmla="*/ 16791 h 118"/>
                <a:gd name="T40" fmla="*/ 169593 w 206"/>
                <a:gd name="T41" fmla="*/ 15112 h 118"/>
                <a:gd name="T42" fmla="*/ 156160 w 206"/>
                <a:gd name="T43" fmla="*/ 16791 h 118"/>
                <a:gd name="T44" fmla="*/ 151122 w 206"/>
                <a:gd name="T45" fmla="*/ 10075 h 118"/>
                <a:gd name="T46" fmla="*/ 139368 w 206"/>
                <a:gd name="T47" fmla="*/ 1679 h 118"/>
                <a:gd name="T48" fmla="*/ 130973 w 206"/>
                <a:gd name="T49" fmla="*/ 0 h 118"/>
                <a:gd name="T50" fmla="*/ 114181 w 206"/>
                <a:gd name="T51" fmla="*/ 8396 h 118"/>
                <a:gd name="T52" fmla="*/ 104106 w 206"/>
                <a:gd name="T53" fmla="*/ 21828 h 118"/>
                <a:gd name="T54" fmla="*/ 85636 w 206"/>
                <a:gd name="T55" fmla="*/ 28545 h 118"/>
                <a:gd name="T56" fmla="*/ 53732 w 206"/>
                <a:gd name="T57" fmla="*/ 43657 h 118"/>
                <a:gd name="T58" fmla="*/ 26866 w 206"/>
                <a:gd name="T59" fmla="*/ 63806 h 118"/>
                <a:gd name="T60" fmla="*/ 20150 w 206"/>
                <a:gd name="T61" fmla="*/ 68844 h 118"/>
                <a:gd name="T62" fmla="*/ 3358 w 206"/>
                <a:gd name="T63" fmla="*/ 94030 h 118"/>
                <a:gd name="T64" fmla="*/ 0 w 206"/>
                <a:gd name="T65" fmla="*/ 122575 h 118"/>
                <a:gd name="T66" fmla="*/ 1679 w 206"/>
                <a:gd name="T67" fmla="*/ 137687 h 118"/>
                <a:gd name="T68" fmla="*/ 11754 w 206"/>
                <a:gd name="T69" fmla="*/ 166232 h 118"/>
                <a:gd name="T70" fmla="*/ 31904 w 206"/>
                <a:gd name="T71" fmla="*/ 186381 h 118"/>
                <a:gd name="T72" fmla="*/ 62128 w 206"/>
                <a:gd name="T73" fmla="*/ 196456 h 118"/>
                <a:gd name="T74" fmla="*/ 75561 w 206"/>
                <a:gd name="T75" fmla="*/ 198135 h 118"/>
                <a:gd name="T76" fmla="*/ 102427 w 206"/>
                <a:gd name="T77" fmla="*/ 194777 h 118"/>
                <a:gd name="T78" fmla="*/ 122577 w 206"/>
                <a:gd name="T79" fmla="*/ 183023 h 118"/>
                <a:gd name="T80" fmla="*/ 141047 w 206"/>
                <a:gd name="T81" fmla="*/ 164553 h 118"/>
                <a:gd name="T82" fmla="*/ 149443 w 206"/>
                <a:gd name="T83" fmla="*/ 141045 h 11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6"/>
                <a:gd name="T127" fmla="*/ 0 h 118"/>
                <a:gd name="T128" fmla="*/ 206 w 206"/>
                <a:gd name="T129" fmla="*/ 118 h 11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6" h="118">
                  <a:moveTo>
                    <a:pt x="116" y="84"/>
                  </a:moveTo>
                  <a:lnTo>
                    <a:pt x="116" y="84"/>
                  </a:lnTo>
                  <a:lnTo>
                    <a:pt x="118" y="91"/>
                  </a:lnTo>
                  <a:lnTo>
                    <a:pt x="122" y="98"/>
                  </a:lnTo>
                  <a:lnTo>
                    <a:pt x="127" y="104"/>
                  </a:lnTo>
                  <a:lnTo>
                    <a:pt x="132" y="109"/>
                  </a:lnTo>
                  <a:lnTo>
                    <a:pt x="139" y="113"/>
                  </a:lnTo>
                  <a:lnTo>
                    <a:pt x="145" y="116"/>
                  </a:lnTo>
                  <a:lnTo>
                    <a:pt x="152" y="118"/>
                  </a:lnTo>
                  <a:lnTo>
                    <a:pt x="161" y="118"/>
                  </a:lnTo>
                  <a:lnTo>
                    <a:pt x="169" y="117"/>
                  </a:lnTo>
                  <a:lnTo>
                    <a:pt x="178" y="115"/>
                  </a:lnTo>
                  <a:lnTo>
                    <a:pt x="187" y="111"/>
                  </a:lnTo>
                  <a:lnTo>
                    <a:pt x="193" y="105"/>
                  </a:lnTo>
                  <a:lnTo>
                    <a:pt x="199" y="99"/>
                  </a:lnTo>
                  <a:lnTo>
                    <a:pt x="202" y="90"/>
                  </a:lnTo>
                  <a:lnTo>
                    <a:pt x="205" y="82"/>
                  </a:lnTo>
                  <a:lnTo>
                    <a:pt x="206" y="73"/>
                  </a:lnTo>
                  <a:lnTo>
                    <a:pt x="206" y="67"/>
                  </a:lnTo>
                  <a:lnTo>
                    <a:pt x="205" y="61"/>
                  </a:lnTo>
                  <a:lnTo>
                    <a:pt x="200" y="51"/>
                  </a:lnTo>
                  <a:lnTo>
                    <a:pt x="194" y="41"/>
                  </a:lnTo>
                  <a:lnTo>
                    <a:pt x="185" y="34"/>
                  </a:lnTo>
                  <a:lnTo>
                    <a:pt x="178" y="29"/>
                  </a:lnTo>
                  <a:lnTo>
                    <a:pt x="168" y="24"/>
                  </a:lnTo>
                  <a:lnTo>
                    <a:pt x="157" y="18"/>
                  </a:lnTo>
                  <a:lnTo>
                    <a:pt x="143" y="15"/>
                  </a:lnTo>
                  <a:lnTo>
                    <a:pt x="141" y="9"/>
                  </a:lnTo>
                  <a:lnTo>
                    <a:pt x="138" y="5"/>
                  </a:lnTo>
                  <a:lnTo>
                    <a:pt x="133" y="1"/>
                  </a:lnTo>
                  <a:lnTo>
                    <a:pt x="127" y="0"/>
                  </a:lnTo>
                  <a:lnTo>
                    <a:pt x="123" y="1"/>
                  </a:lnTo>
                  <a:lnTo>
                    <a:pt x="118" y="2"/>
                  </a:lnTo>
                  <a:lnTo>
                    <a:pt x="116" y="6"/>
                  </a:lnTo>
                  <a:lnTo>
                    <a:pt x="113" y="10"/>
                  </a:lnTo>
                  <a:lnTo>
                    <a:pt x="101" y="9"/>
                  </a:lnTo>
                  <a:lnTo>
                    <a:pt x="93" y="10"/>
                  </a:lnTo>
                  <a:lnTo>
                    <a:pt x="90" y="6"/>
                  </a:lnTo>
                  <a:lnTo>
                    <a:pt x="87" y="2"/>
                  </a:lnTo>
                  <a:lnTo>
                    <a:pt x="83" y="1"/>
                  </a:lnTo>
                  <a:lnTo>
                    <a:pt x="78" y="0"/>
                  </a:lnTo>
                  <a:lnTo>
                    <a:pt x="73" y="1"/>
                  </a:lnTo>
                  <a:lnTo>
                    <a:pt x="68" y="5"/>
                  </a:lnTo>
                  <a:lnTo>
                    <a:pt x="65" y="9"/>
                  </a:lnTo>
                  <a:lnTo>
                    <a:pt x="62" y="13"/>
                  </a:lnTo>
                  <a:lnTo>
                    <a:pt x="51" y="17"/>
                  </a:lnTo>
                  <a:lnTo>
                    <a:pt x="40" y="22"/>
                  </a:lnTo>
                  <a:lnTo>
                    <a:pt x="32" y="26"/>
                  </a:lnTo>
                  <a:lnTo>
                    <a:pt x="26" y="31"/>
                  </a:lnTo>
                  <a:lnTo>
                    <a:pt x="16" y="38"/>
                  </a:lnTo>
                  <a:lnTo>
                    <a:pt x="12" y="41"/>
                  </a:lnTo>
                  <a:lnTo>
                    <a:pt x="7" y="49"/>
                  </a:lnTo>
                  <a:lnTo>
                    <a:pt x="2" y="56"/>
                  </a:lnTo>
                  <a:lnTo>
                    <a:pt x="0" y="65"/>
                  </a:lnTo>
                  <a:lnTo>
                    <a:pt x="0" y="73"/>
                  </a:lnTo>
                  <a:lnTo>
                    <a:pt x="1" y="82"/>
                  </a:lnTo>
                  <a:lnTo>
                    <a:pt x="4" y="90"/>
                  </a:lnTo>
                  <a:lnTo>
                    <a:pt x="7" y="99"/>
                  </a:lnTo>
                  <a:lnTo>
                    <a:pt x="13" y="105"/>
                  </a:lnTo>
                  <a:lnTo>
                    <a:pt x="19" y="111"/>
                  </a:lnTo>
                  <a:lnTo>
                    <a:pt x="28" y="115"/>
                  </a:lnTo>
                  <a:lnTo>
                    <a:pt x="37" y="117"/>
                  </a:lnTo>
                  <a:lnTo>
                    <a:pt x="45" y="118"/>
                  </a:lnTo>
                  <a:lnTo>
                    <a:pt x="54" y="118"/>
                  </a:lnTo>
                  <a:lnTo>
                    <a:pt x="61" y="116"/>
                  </a:lnTo>
                  <a:lnTo>
                    <a:pt x="67" y="113"/>
                  </a:lnTo>
                  <a:lnTo>
                    <a:pt x="73" y="109"/>
                  </a:lnTo>
                  <a:lnTo>
                    <a:pt x="79" y="104"/>
                  </a:lnTo>
                  <a:lnTo>
                    <a:pt x="84" y="98"/>
                  </a:lnTo>
                  <a:lnTo>
                    <a:pt x="87" y="91"/>
                  </a:lnTo>
                  <a:lnTo>
                    <a:pt x="89" y="84"/>
                  </a:lnTo>
                </a:path>
              </a:pathLst>
            </a:custGeom>
            <a:noFill/>
            <a:ln w="9525">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111" name="Freeform 1229">
              <a:extLst>
                <a:ext uri="{FF2B5EF4-FFF2-40B4-BE49-F238E27FC236}">
                  <a16:creationId xmlns:a16="http://schemas.microsoft.com/office/drawing/2014/main" id="{22F687CD-77D4-3B58-08A6-065983F55BEF}"/>
                </a:ext>
              </a:extLst>
            </p:cNvPr>
            <p:cNvSpPr>
              <a:spLocks/>
            </p:cNvSpPr>
            <p:nvPr/>
          </p:nvSpPr>
          <p:spPr bwMode="auto">
            <a:xfrm>
              <a:off x="8226396" y="4710423"/>
              <a:ext cx="65087" cy="55562"/>
            </a:xfrm>
            <a:custGeom>
              <a:avLst/>
              <a:gdLst>
                <a:gd name="T0" fmla="*/ 24319 w 29"/>
                <a:gd name="T1" fmla="*/ 0 h 26"/>
                <a:gd name="T2" fmla="*/ 24319 w 29"/>
                <a:gd name="T3" fmla="*/ 0 h 26"/>
                <a:gd name="T4" fmla="*/ 36478 w 29"/>
                <a:gd name="T5" fmla="*/ 3358 h 26"/>
                <a:gd name="T6" fmla="*/ 43427 w 29"/>
                <a:gd name="T7" fmla="*/ 8396 h 26"/>
                <a:gd name="T8" fmla="*/ 48638 w 29"/>
                <a:gd name="T9" fmla="*/ 16792 h 26"/>
                <a:gd name="T10" fmla="*/ 50375 w 29"/>
                <a:gd name="T11" fmla="*/ 25187 h 26"/>
                <a:gd name="T12" fmla="*/ 50375 w 29"/>
                <a:gd name="T13" fmla="*/ 25187 h 26"/>
                <a:gd name="T14" fmla="*/ 48638 w 29"/>
                <a:gd name="T15" fmla="*/ 43658 h 26"/>
                <a:gd name="T16" fmla="*/ 3474 w 29"/>
                <a:gd name="T17" fmla="*/ 43658 h 26"/>
                <a:gd name="T18" fmla="*/ 3474 w 29"/>
                <a:gd name="T19" fmla="*/ 43658 h 26"/>
                <a:gd name="T20" fmla="*/ 0 w 29"/>
                <a:gd name="T21" fmla="*/ 25187 h 26"/>
                <a:gd name="T22" fmla="*/ 0 w 29"/>
                <a:gd name="T23" fmla="*/ 25187 h 26"/>
                <a:gd name="T24" fmla="*/ 1737 w 29"/>
                <a:gd name="T25" fmla="*/ 16792 h 26"/>
                <a:gd name="T26" fmla="*/ 8685 w 29"/>
                <a:gd name="T27" fmla="*/ 8396 h 26"/>
                <a:gd name="T28" fmla="*/ 17371 w 29"/>
                <a:gd name="T29" fmla="*/ 3358 h 26"/>
                <a:gd name="T30" fmla="*/ 24319 w 29"/>
                <a:gd name="T31" fmla="*/ 0 h 26"/>
                <a:gd name="T32" fmla="*/ 24319 w 29"/>
                <a:gd name="T33" fmla="*/ 0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
                <a:gd name="T52" fmla="*/ 0 h 26"/>
                <a:gd name="T53" fmla="*/ 29 w 29"/>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 h="26">
                  <a:moveTo>
                    <a:pt x="14" y="0"/>
                  </a:moveTo>
                  <a:lnTo>
                    <a:pt x="14" y="0"/>
                  </a:lnTo>
                  <a:lnTo>
                    <a:pt x="21" y="2"/>
                  </a:lnTo>
                  <a:lnTo>
                    <a:pt x="25" y="5"/>
                  </a:lnTo>
                  <a:lnTo>
                    <a:pt x="28" y="10"/>
                  </a:lnTo>
                  <a:lnTo>
                    <a:pt x="29" y="15"/>
                  </a:lnTo>
                  <a:lnTo>
                    <a:pt x="28" y="26"/>
                  </a:lnTo>
                  <a:lnTo>
                    <a:pt x="2" y="26"/>
                  </a:lnTo>
                  <a:lnTo>
                    <a:pt x="0" y="15"/>
                  </a:lnTo>
                  <a:lnTo>
                    <a:pt x="1" y="10"/>
                  </a:lnTo>
                  <a:lnTo>
                    <a:pt x="5" y="5"/>
                  </a:lnTo>
                  <a:lnTo>
                    <a:pt x="10" y="2"/>
                  </a:lnTo>
                  <a:lnTo>
                    <a:pt x="14" y="0"/>
                  </a:lnTo>
                  <a:close/>
                </a:path>
              </a:pathLst>
            </a:custGeom>
            <a:noFill/>
            <a:ln w="9525">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112" name="Freeform 1230">
              <a:extLst>
                <a:ext uri="{FF2B5EF4-FFF2-40B4-BE49-F238E27FC236}">
                  <a16:creationId xmlns:a16="http://schemas.microsoft.com/office/drawing/2014/main" id="{D991C92D-3483-7927-D5DC-52074AE1B59C}"/>
                </a:ext>
              </a:extLst>
            </p:cNvPr>
            <p:cNvSpPr>
              <a:spLocks/>
            </p:cNvSpPr>
            <p:nvPr/>
          </p:nvSpPr>
          <p:spPr bwMode="auto">
            <a:xfrm>
              <a:off x="8066058" y="4710423"/>
              <a:ext cx="134938" cy="134937"/>
            </a:xfrm>
            <a:custGeom>
              <a:avLst/>
              <a:gdLst>
                <a:gd name="T0" fmla="*/ 52054 w 64"/>
                <a:gd name="T1" fmla="*/ 107462 h 64"/>
                <a:gd name="T2" fmla="*/ 52054 w 64"/>
                <a:gd name="T3" fmla="*/ 107462 h 64"/>
                <a:gd name="T4" fmla="*/ 42293 w 64"/>
                <a:gd name="T5" fmla="*/ 105783 h 64"/>
                <a:gd name="T6" fmla="*/ 32533 w 64"/>
                <a:gd name="T7" fmla="*/ 100746 h 64"/>
                <a:gd name="T8" fmla="*/ 24400 w 64"/>
                <a:gd name="T9" fmla="*/ 97387 h 64"/>
                <a:gd name="T10" fmla="*/ 16267 w 64"/>
                <a:gd name="T11" fmla="*/ 90671 h 64"/>
                <a:gd name="T12" fmla="*/ 9760 w 64"/>
                <a:gd name="T13" fmla="*/ 82276 h 64"/>
                <a:gd name="T14" fmla="*/ 4880 w 64"/>
                <a:gd name="T15" fmla="*/ 73880 h 64"/>
                <a:gd name="T16" fmla="*/ 3253 w 64"/>
                <a:gd name="T17" fmla="*/ 63806 h 64"/>
                <a:gd name="T18" fmla="*/ 0 w 64"/>
                <a:gd name="T19" fmla="*/ 53731 h 64"/>
                <a:gd name="T20" fmla="*/ 0 w 64"/>
                <a:gd name="T21" fmla="*/ 53731 h 64"/>
                <a:gd name="T22" fmla="*/ 3253 w 64"/>
                <a:gd name="T23" fmla="*/ 43656 h 64"/>
                <a:gd name="T24" fmla="*/ 4880 w 64"/>
                <a:gd name="T25" fmla="*/ 33582 h 64"/>
                <a:gd name="T26" fmla="*/ 9760 w 64"/>
                <a:gd name="T27" fmla="*/ 23507 h 64"/>
                <a:gd name="T28" fmla="*/ 16267 w 64"/>
                <a:gd name="T29" fmla="*/ 16791 h 64"/>
                <a:gd name="T30" fmla="*/ 24400 w 64"/>
                <a:gd name="T31" fmla="*/ 8395 h 64"/>
                <a:gd name="T32" fmla="*/ 32533 w 64"/>
                <a:gd name="T33" fmla="*/ 5037 h 64"/>
                <a:gd name="T34" fmla="*/ 42293 w 64"/>
                <a:gd name="T35" fmla="*/ 3358 h 64"/>
                <a:gd name="T36" fmla="*/ 52054 w 64"/>
                <a:gd name="T37" fmla="*/ 0 h 64"/>
                <a:gd name="T38" fmla="*/ 52054 w 64"/>
                <a:gd name="T39" fmla="*/ 0 h 64"/>
                <a:gd name="T40" fmla="*/ 61814 w 64"/>
                <a:gd name="T41" fmla="*/ 3358 h 64"/>
                <a:gd name="T42" fmla="*/ 71574 w 64"/>
                <a:gd name="T43" fmla="*/ 5037 h 64"/>
                <a:gd name="T44" fmla="*/ 81334 w 64"/>
                <a:gd name="T45" fmla="*/ 8395 h 64"/>
                <a:gd name="T46" fmla="*/ 87840 w 64"/>
                <a:gd name="T47" fmla="*/ 16791 h 64"/>
                <a:gd name="T48" fmla="*/ 95974 w 64"/>
                <a:gd name="T49" fmla="*/ 23507 h 64"/>
                <a:gd name="T50" fmla="*/ 99227 w 64"/>
                <a:gd name="T51" fmla="*/ 33582 h 64"/>
                <a:gd name="T52" fmla="*/ 102480 w 64"/>
                <a:gd name="T53" fmla="*/ 43656 h 64"/>
                <a:gd name="T54" fmla="*/ 104107 w 64"/>
                <a:gd name="T55" fmla="*/ 53731 h 64"/>
                <a:gd name="T56" fmla="*/ 104107 w 64"/>
                <a:gd name="T57" fmla="*/ 53731 h 64"/>
                <a:gd name="T58" fmla="*/ 102480 w 64"/>
                <a:gd name="T59" fmla="*/ 63806 h 64"/>
                <a:gd name="T60" fmla="*/ 99227 w 64"/>
                <a:gd name="T61" fmla="*/ 73880 h 64"/>
                <a:gd name="T62" fmla="*/ 95974 w 64"/>
                <a:gd name="T63" fmla="*/ 82276 h 64"/>
                <a:gd name="T64" fmla="*/ 87840 w 64"/>
                <a:gd name="T65" fmla="*/ 90671 h 64"/>
                <a:gd name="T66" fmla="*/ 81334 w 64"/>
                <a:gd name="T67" fmla="*/ 97387 h 64"/>
                <a:gd name="T68" fmla="*/ 71574 w 64"/>
                <a:gd name="T69" fmla="*/ 100746 h 64"/>
                <a:gd name="T70" fmla="*/ 61814 w 64"/>
                <a:gd name="T71" fmla="*/ 105783 h 64"/>
                <a:gd name="T72" fmla="*/ 52054 w 64"/>
                <a:gd name="T73" fmla="*/ 107462 h 64"/>
                <a:gd name="T74" fmla="*/ 52054 w 64"/>
                <a:gd name="T75" fmla="*/ 107462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4"/>
                <a:gd name="T115" fmla="*/ 0 h 64"/>
                <a:gd name="T116" fmla="*/ 64 w 64"/>
                <a:gd name="T117" fmla="*/ 64 h 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4" h="64">
                  <a:moveTo>
                    <a:pt x="32" y="64"/>
                  </a:moveTo>
                  <a:lnTo>
                    <a:pt x="32" y="64"/>
                  </a:lnTo>
                  <a:lnTo>
                    <a:pt x="26" y="63"/>
                  </a:lnTo>
                  <a:lnTo>
                    <a:pt x="20" y="60"/>
                  </a:lnTo>
                  <a:lnTo>
                    <a:pt x="15" y="58"/>
                  </a:lnTo>
                  <a:lnTo>
                    <a:pt x="10" y="54"/>
                  </a:lnTo>
                  <a:lnTo>
                    <a:pt x="6" y="49"/>
                  </a:lnTo>
                  <a:lnTo>
                    <a:pt x="3" y="44"/>
                  </a:lnTo>
                  <a:lnTo>
                    <a:pt x="2" y="38"/>
                  </a:lnTo>
                  <a:lnTo>
                    <a:pt x="0" y="32"/>
                  </a:lnTo>
                  <a:lnTo>
                    <a:pt x="2" y="26"/>
                  </a:lnTo>
                  <a:lnTo>
                    <a:pt x="3" y="20"/>
                  </a:lnTo>
                  <a:lnTo>
                    <a:pt x="6" y="14"/>
                  </a:lnTo>
                  <a:lnTo>
                    <a:pt x="10" y="10"/>
                  </a:lnTo>
                  <a:lnTo>
                    <a:pt x="15" y="5"/>
                  </a:lnTo>
                  <a:lnTo>
                    <a:pt x="20" y="3"/>
                  </a:lnTo>
                  <a:lnTo>
                    <a:pt x="26" y="2"/>
                  </a:lnTo>
                  <a:lnTo>
                    <a:pt x="32" y="0"/>
                  </a:lnTo>
                  <a:lnTo>
                    <a:pt x="38" y="2"/>
                  </a:lnTo>
                  <a:lnTo>
                    <a:pt x="44" y="3"/>
                  </a:lnTo>
                  <a:lnTo>
                    <a:pt x="50" y="5"/>
                  </a:lnTo>
                  <a:lnTo>
                    <a:pt x="54" y="10"/>
                  </a:lnTo>
                  <a:lnTo>
                    <a:pt x="59" y="14"/>
                  </a:lnTo>
                  <a:lnTo>
                    <a:pt x="61" y="20"/>
                  </a:lnTo>
                  <a:lnTo>
                    <a:pt x="63" y="26"/>
                  </a:lnTo>
                  <a:lnTo>
                    <a:pt x="64" y="32"/>
                  </a:lnTo>
                  <a:lnTo>
                    <a:pt x="63" y="38"/>
                  </a:lnTo>
                  <a:lnTo>
                    <a:pt x="61" y="44"/>
                  </a:lnTo>
                  <a:lnTo>
                    <a:pt x="59" y="49"/>
                  </a:lnTo>
                  <a:lnTo>
                    <a:pt x="54" y="54"/>
                  </a:lnTo>
                  <a:lnTo>
                    <a:pt x="50" y="58"/>
                  </a:lnTo>
                  <a:lnTo>
                    <a:pt x="44" y="60"/>
                  </a:lnTo>
                  <a:lnTo>
                    <a:pt x="38" y="63"/>
                  </a:lnTo>
                  <a:lnTo>
                    <a:pt x="32" y="64"/>
                  </a:lnTo>
                  <a:close/>
                </a:path>
              </a:pathLst>
            </a:custGeom>
            <a:noFill/>
            <a:ln w="9525">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113" name="Freeform 1231">
              <a:extLst>
                <a:ext uri="{FF2B5EF4-FFF2-40B4-BE49-F238E27FC236}">
                  <a16:creationId xmlns:a16="http://schemas.microsoft.com/office/drawing/2014/main" id="{F00FDDC2-FB10-9865-D151-93DB2BCF1A83}"/>
                </a:ext>
              </a:extLst>
            </p:cNvPr>
            <p:cNvSpPr>
              <a:spLocks/>
            </p:cNvSpPr>
            <p:nvPr/>
          </p:nvSpPr>
          <p:spPr bwMode="auto">
            <a:xfrm>
              <a:off x="8316883" y="4715184"/>
              <a:ext cx="130174" cy="127000"/>
            </a:xfrm>
            <a:custGeom>
              <a:avLst/>
              <a:gdLst>
                <a:gd name="T0" fmla="*/ 52053 w 60"/>
                <a:gd name="T1" fmla="*/ 100746 h 61"/>
                <a:gd name="T2" fmla="*/ 52053 w 60"/>
                <a:gd name="T3" fmla="*/ 100746 h 61"/>
                <a:gd name="T4" fmla="*/ 41978 w 60"/>
                <a:gd name="T5" fmla="*/ 97443 h 61"/>
                <a:gd name="T6" fmla="*/ 31904 w 60"/>
                <a:gd name="T7" fmla="*/ 95791 h 61"/>
                <a:gd name="T8" fmla="*/ 23508 w 60"/>
                <a:gd name="T9" fmla="*/ 90837 h 61"/>
                <a:gd name="T10" fmla="*/ 15112 w 60"/>
                <a:gd name="T11" fmla="*/ 84230 h 61"/>
                <a:gd name="T12" fmla="*/ 8396 w 60"/>
                <a:gd name="T13" fmla="*/ 77624 h 61"/>
                <a:gd name="T14" fmla="*/ 5037 w 60"/>
                <a:gd name="T15" fmla="*/ 67715 h 61"/>
                <a:gd name="T16" fmla="*/ 0 w 60"/>
                <a:gd name="T17" fmla="*/ 59457 h 61"/>
                <a:gd name="T18" fmla="*/ 0 w 60"/>
                <a:gd name="T19" fmla="*/ 49547 h 61"/>
                <a:gd name="T20" fmla="*/ 0 w 60"/>
                <a:gd name="T21" fmla="*/ 49547 h 61"/>
                <a:gd name="T22" fmla="*/ 0 w 60"/>
                <a:gd name="T23" fmla="*/ 39638 h 61"/>
                <a:gd name="T24" fmla="*/ 5037 w 60"/>
                <a:gd name="T25" fmla="*/ 29728 h 61"/>
                <a:gd name="T26" fmla="*/ 8396 w 60"/>
                <a:gd name="T27" fmla="*/ 21470 h 61"/>
                <a:gd name="T28" fmla="*/ 15112 w 60"/>
                <a:gd name="T29" fmla="*/ 13213 h 61"/>
                <a:gd name="T30" fmla="*/ 23508 w 60"/>
                <a:gd name="T31" fmla="*/ 8258 h 61"/>
                <a:gd name="T32" fmla="*/ 31904 w 60"/>
                <a:gd name="T33" fmla="*/ 3303 h 61"/>
                <a:gd name="T34" fmla="*/ 41978 w 60"/>
                <a:gd name="T35" fmla="*/ 0 h 61"/>
                <a:gd name="T36" fmla="*/ 52053 w 60"/>
                <a:gd name="T37" fmla="*/ 0 h 61"/>
                <a:gd name="T38" fmla="*/ 52053 w 60"/>
                <a:gd name="T39" fmla="*/ 0 h 61"/>
                <a:gd name="T40" fmla="*/ 62128 w 60"/>
                <a:gd name="T41" fmla="*/ 0 h 61"/>
                <a:gd name="T42" fmla="*/ 70524 w 60"/>
                <a:gd name="T43" fmla="*/ 3303 h 61"/>
                <a:gd name="T44" fmla="*/ 80598 w 60"/>
                <a:gd name="T45" fmla="*/ 8258 h 61"/>
                <a:gd name="T46" fmla="*/ 87315 w 60"/>
                <a:gd name="T47" fmla="*/ 13213 h 61"/>
                <a:gd name="T48" fmla="*/ 92352 w 60"/>
                <a:gd name="T49" fmla="*/ 21470 h 61"/>
                <a:gd name="T50" fmla="*/ 99069 w 60"/>
                <a:gd name="T51" fmla="*/ 29728 h 61"/>
                <a:gd name="T52" fmla="*/ 100748 w 60"/>
                <a:gd name="T53" fmla="*/ 39638 h 61"/>
                <a:gd name="T54" fmla="*/ 100748 w 60"/>
                <a:gd name="T55" fmla="*/ 49547 h 61"/>
                <a:gd name="T56" fmla="*/ 100748 w 60"/>
                <a:gd name="T57" fmla="*/ 49547 h 61"/>
                <a:gd name="T58" fmla="*/ 100748 w 60"/>
                <a:gd name="T59" fmla="*/ 59457 h 61"/>
                <a:gd name="T60" fmla="*/ 99069 w 60"/>
                <a:gd name="T61" fmla="*/ 67715 h 61"/>
                <a:gd name="T62" fmla="*/ 92352 w 60"/>
                <a:gd name="T63" fmla="*/ 77624 h 61"/>
                <a:gd name="T64" fmla="*/ 87315 w 60"/>
                <a:gd name="T65" fmla="*/ 84230 h 61"/>
                <a:gd name="T66" fmla="*/ 80598 w 60"/>
                <a:gd name="T67" fmla="*/ 90837 h 61"/>
                <a:gd name="T68" fmla="*/ 70524 w 60"/>
                <a:gd name="T69" fmla="*/ 95791 h 61"/>
                <a:gd name="T70" fmla="*/ 62128 w 60"/>
                <a:gd name="T71" fmla="*/ 97443 h 61"/>
                <a:gd name="T72" fmla="*/ 52053 w 60"/>
                <a:gd name="T73" fmla="*/ 100746 h 61"/>
                <a:gd name="T74" fmla="*/ 52053 w 60"/>
                <a:gd name="T75" fmla="*/ 100746 h 6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0"/>
                <a:gd name="T115" fmla="*/ 0 h 61"/>
                <a:gd name="T116" fmla="*/ 60 w 60"/>
                <a:gd name="T117" fmla="*/ 61 h 6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0" h="61">
                  <a:moveTo>
                    <a:pt x="31" y="61"/>
                  </a:moveTo>
                  <a:lnTo>
                    <a:pt x="31" y="61"/>
                  </a:lnTo>
                  <a:lnTo>
                    <a:pt x="25" y="59"/>
                  </a:lnTo>
                  <a:lnTo>
                    <a:pt x="19" y="58"/>
                  </a:lnTo>
                  <a:lnTo>
                    <a:pt x="14" y="55"/>
                  </a:lnTo>
                  <a:lnTo>
                    <a:pt x="9" y="51"/>
                  </a:lnTo>
                  <a:lnTo>
                    <a:pt x="5" y="47"/>
                  </a:lnTo>
                  <a:lnTo>
                    <a:pt x="3" y="41"/>
                  </a:lnTo>
                  <a:lnTo>
                    <a:pt x="0" y="36"/>
                  </a:lnTo>
                  <a:lnTo>
                    <a:pt x="0" y="30"/>
                  </a:lnTo>
                  <a:lnTo>
                    <a:pt x="0" y="24"/>
                  </a:lnTo>
                  <a:lnTo>
                    <a:pt x="3" y="18"/>
                  </a:lnTo>
                  <a:lnTo>
                    <a:pt x="5" y="13"/>
                  </a:lnTo>
                  <a:lnTo>
                    <a:pt x="9" y="8"/>
                  </a:lnTo>
                  <a:lnTo>
                    <a:pt x="14" y="5"/>
                  </a:lnTo>
                  <a:lnTo>
                    <a:pt x="19" y="2"/>
                  </a:lnTo>
                  <a:lnTo>
                    <a:pt x="25" y="0"/>
                  </a:lnTo>
                  <a:lnTo>
                    <a:pt x="31" y="0"/>
                  </a:lnTo>
                  <a:lnTo>
                    <a:pt x="37" y="0"/>
                  </a:lnTo>
                  <a:lnTo>
                    <a:pt x="42" y="2"/>
                  </a:lnTo>
                  <a:lnTo>
                    <a:pt x="48" y="5"/>
                  </a:lnTo>
                  <a:lnTo>
                    <a:pt x="52" y="8"/>
                  </a:lnTo>
                  <a:lnTo>
                    <a:pt x="55" y="13"/>
                  </a:lnTo>
                  <a:lnTo>
                    <a:pt x="59" y="18"/>
                  </a:lnTo>
                  <a:lnTo>
                    <a:pt x="60" y="24"/>
                  </a:lnTo>
                  <a:lnTo>
                    <a:pt x="60" y="30"/>
                  </a:lnTo>
                  <a:lnTo>
                    <a:pt x="60" y="36"/>
                  </a:lnTo>
                  <a:lnTo>
                    <a:pt x="59" y="41"/>
                  </a:lnTo>
                  <a:lnTo>
                    <a:pt x="55" y="47"/>
                  </a:lnTo>
                  <a:lnTo>
                    <a:pt x="52" y="51"/>
                  </a:lnTo>
                  <a:lnTo>
                    <a:pt x="48" y="55"/>
                  </a:lnTo>
                  <a:lnTo>
                    <a:pt x="42" y="58"/>
                  </a:lnTo>
                  <a:lnTo>
                    <a:pt x="37" y="59"/>
                  </a:lnTo>
                  <a:lnTo>
                    <a:pt x="31" y="61"/>
                  </a:lnTo>
                  <a:close/>
                </a:path>
              </a:pathLst>
            </a:custGeom>
            <a:noFill/>
            <a:ln w="9525">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Verdana"/>
                <a:ea typeface="+mn-ea"/>
                <a:cs typeface="+mn-cs"/>
              </a:endParaRPr>
            </a:p>
          </p:txBody>
        </p:sp>
      </p:grpSp>
      <p:sp>
        <p:nvSpPr>
          <p:cNvPr id="114" name="Rectangle 113">
            <a:extLst>
              <a:ext uri="{FF2B5EF4-FFF2-40B4-BE49-F238E27FC236}">
                <a16:creationId xmlns:a16="http://schemas.microsoft.com/office/drawing/2014/main" id="{E18C5E4B-6D39-7D17-481E-3A25F3B91D89}"/>
              </a:ext>
            </a:extLst>
          </p:cNvPr>
          <p:cNvSpPr/>
          <p:nvPr/>
        </p:nvSpPr>
        <p:spPr>
          <a:xfrm>
            <a:off x="6489009" y="5695819"/>
            <a:ext cx="1058749" cy="421417"/>
          </a:xfrm>
          <a:prstGeom prst="rect">
            <a:avLst/>
          </a:prstGeom>
          <a:noFill/>
          <a:ln w="190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Re-test resolved defects</a:t>
            </a:r>
            <a:endParaRPr kumimoji="0" lang="en-US" sz="9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15" name="Rectangle 114">
            <a:extLst>
              <a:ext uri="{FF2B5EF4-FFF2-40B4-BE49-F238E27FC236}">
                <a16:creationId xmlns:a16="http://schemas.microsoft.com/office/drawing/2014/main" id="{B48B902A-DAA7-BFB0-E824-F2475BEEB3B4}"/>
              </a:ext>
            </a:extLst>
          </p:cNvPr>
          <p:cNvSpPr/>
          <p:nvPr/>
        </p:nvSpPr>
        <p:spPr>
          <a:xfrm>
            <a:off x="2608338" y="5159538"/>
            <a:ext cx="1560672" cy="28417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est Log &amp; Sign-Off email</a:t>
            </a:r>
            <a:endParaRPr kumimoji="0" lang="en-US" sz="900" b="1"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16" name="Rectangle 115">
            <a:extLst>
              <a:ext uri="{FF2B5EF4-FFF2-40B4-BE49-F238E27FC236}">
                <a16:creationId xmlns:a16="http://schemas.microsoft.com/office/drawing/2014/main" id="{42D1DEB4-1B40-6370-C7BB-A581FF6B5EE0}"/>
              </a:ext>
            </a:extLst>
          </p:cNvPr>
          <p:cNvSpPr/>
          <p:nvPr/>
        </p:nvSpPr>
        <p:spPr>
          <a:xfrm>
            <a:off x="2608338" y="5482265"/>
            <a:ext cx="1560672" cy="28417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Known Defects</a:t>
            </a:r>
            <a:endParaRPr kumimoji="0" lang="en-US" sz="9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17" name="Rectangle 116">
            <a:extLst>
              <a:ext uri="{FF2B5EF4-FFF2-40B4-BE49-F238E27FC236}">
                <a16:creationId xmlns:a16="http://schemas.microsoft.com/office/drawing/2014/main" id="{54E51C87-60F3-0D0F-AE55-D3B704EB2D1A}"/>
              </a:ext>
            </a:extLst>
          </p:cNvPr>
          <p:cNvSpPr/>
          <p:nvPr/>
        </p:nvSpPr>
        <p:spPr>
          <a:xfrm>
            <a:off x="2608338" y="5804993"/>
            <a:ext cx="1560672" cy="28417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Other Test Artifacts</a:t>
            </a:r>
            <a:endParaRPr kumimoji="0" lang="en-US" sz="9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18" name="5-Point Star 106">
            <a:extLst>
              <a:ext uri="{FF2B5EF4-FFF2-40B4-BE49-F238E27FC236}">
                <a16:creationId xmlns:a16="http://schemas.microsoft.com/office/drawing/2014/main" id="{1BCF27C8-2BA8-E293-27DF-C3B3EFEE3F49}"/>
              </a:ext>
            </a:extLst>
          </p:cNvPr>
          <p:cNvSpPr/>
          <p:nvPr/>
        </p:nvSpPr>
        <p:spPr>
          <a:xfrm flipH="1">
            <a:off x="3197911" y="4381767"/>
            <a:ext cx="450611" cy="386389"/>
          </a:xfrm>
          <a:prstGeom prst="star5">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119" name="Connector: Elbow 118">
            <a:extLst>
              <a:ext uri="{FF2B5EF4-FFF2-40B4-BE49-F238E27FC236}">
                <a16:creationId xmlns:a16="http://schemas.microsoft.com/office/drawing/2014/main" id="{7D09FD3D-1652-B370-8840-5BE360C7D68E}"/>
              </a:ext>
            </a:extLst>
          </p:cNvPr>
          <p:cNvCxnSpPr>
            <a:cxnSpLocks/>
            <a:stCxn id="108" idx="0"/>
            <a:endCxn id="81" idx="6"/>
          </p:cNvCxnSpPr>
          <p:nvPr/>
        </p:nvCxnSpPr>
        <p:spPr>
          <a:xfrm rot="16200000" flipV="1">
            <a:off x="6234416" y="4532576"/>
            <a:ext cx="634471" cy="988992"/>
          </a:xfrm>
          <a:prstGeom prst="bentConnector2">
            <a:avLst/>
          </a:prstGeom>
          <a:ln w="19050">
            <a:solidFill>
              <a:schemeClr val="tx1">
                <a:lumMod val="95000"/>
                <a:lumOff val="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0" name="Connector: Elbow 119">
            <a:extLst>
              <a:ext uri="{FF2B5EF4-FFF2-40B4-BE49-F238E27FC236}">
                <a16:creationId xmlns:a16="http://schemas.microsoft.com/office/drawing/2014/main" id="{31171853-8A81-C9AD-8BC6-C732CB1BA414}"/>
              </a:ext>
            </a:extLst>
          </p:cNvPr>
          <p:cNvCxnSpPr>
            <a:cxnSpLocks/>
            <a:stCxn id="26" idx="2"/>
            <a:endCxn id="19" idx="0"/>
          </p:cNvCxnSpPr>
          <p:nvPr/>
        </p:nvCxnSpPr>
        <p:spPr>
          <a:xfrm rot="5400000">
            <a:off x="724685" y="1820311"/>
            <a:ext cx="384590" cy="166691"/>
          </a:xfrm>
          <a:prstGeom prst="bentConnector3">
            <a:avLst/>
          </a:prstGeom>
          <a:ln w="19050">
            <a:solidFill>
              <a:schemeClr val="tx1">
                <a:lumMod val="95000"/>
                <a:lumOff val="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D30463F2-2A61-0AF6-06A4-76CBEC7EF10B}"/>
              </a:ext>
            </a:extLst>
          </p:cNvPr>
          <p:cNvCxnSpPr/>
          <p:nvPr/>
        </p:nvCxnSpPr>
        <p:spPr>
          <a:xfrm rot="10800000" flipV="1">
            <a:off x="1040595" y="1711360"/>
            <a:ext cx="894550" cy="384591"/>
          </a:xfrm>
          <a:prstGeom prst="bentConnector3">
            <a:avLst>
              <a:gd name="adj1" fmla="val -3090"/>
            </a:avLst>
          </a:prstGeom>
          <a:ln w="19050">
            <a:solidFill>
              <a:schemeClr val="tx1">
                <a:lumMod val="95000"/>
                <a:lumOff val="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22" name="Quad Arrow 109">
            <a:extLst>
              <a:ext uri="{FF2B5EF4-FFF2-40B4-BE49-F238E27FC236}">
                <a16:creationId xmlns:a16="http://schemas.microsoft.com/office/drawing/2014/main" id="{CA63061C-9D8F-B7D4-B8C7-7D2B40D7C089}"/>
              </a:ext>
            </a:extLst>
          </p:cNvPr>
          <p:cNvSpPr/>
          <p:nvPr/>
        </p:nvSpPr>
        <p:spPr>
          <a:xfrm>
            <a:off x="10840074" y="5309414"/>
            <a:ext cx="441202" cy="350561"/>
          </a:xfrm>
          <a:prstGeom prst="quadArrow">
            <a:avLst>
              <a:gd name="adj1" fmla="val 15430"/>
              <a:gd name="adj2" fmla="val 18965"/>
              <a:gd name="adj3" fmla="val 15884"/>
            </a:avLst>
          </a:prstGeom>
          <a:solidFill>
            <a:srgbClr val="FFBC1D">
              <a:lumMod val="60000"/>
              <a:lumOff val="40000"/>
            </a:srgbClr>
          </a:solidFill>
          <a:ln w="9525" cap="flat" cmpd="sng" algn="ctr">
            <a:solidFill>
              <a:srgbClr val="FFBC1D">
                <a:lumMod val="75000"/>
              </a:srgbClr>
            </a:solidFill>
            <a:prstDash val="solid"/>
          </a:ln>
          <a:effectLst/>
        </p:spPr>
        <p:txBody>
          <a:bodyPr anchor="ctr"/>
          <a:lstStyle/>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263147"/>
              </a:solidFill>
              <a:effectLst/>
              <a:uLnTx/>
              <a:uFillTx/>
              <a:latin typeface="Verdana"/>
              <a:ea typeface="+mn-ea"/>
              <a:cs typeface="+mn-cs"/>
            </a:endParaRPr>
          </a:p>
        </p:txBody>
      </p:sp>
      <p:sp>
        <p:nvSpPr>
          <p:cNvPr id="123" name="Oval 122">
            <a:extLst>
              <a:ext uri="{FF2B5EF4-FFF2-40B4-BE49-F238E27FC236}">
                <a16:creationId xmlns:a16="http://schemas.microsoft.com/office/drawing/2014/main" id="{538B8BEB-65D9-7087-4405-88DB70E4C5D5}"/>
              </a:ext>
            </a:extLst>
          </p:cNvPr>
          <p:cNvSpPr/>
          <p:nvPr/>
        </p:nvSpPr>
        <p:spPr>
          <a:xfrm>
            <a:off x="870044" y="4896204"/>
            <a:ext cx="455550" cy="42818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124" name="Group 123">
            <a:extLst>
              <a:ext uri="{FF2B5EF4-FFF2-40B4-BE49-F238E27FC236}">
                <a16:creationId xmlns:a16="http://schemas.microsoft.com/office/drawing/2014/main" id="{2EE115B7-3D50-EEE6-6B76-310C6A79F9FA}"/>
              </a:ext>
            </a:extLst>
          </p:cNvPr>
          <p:cNvGrpSpPr/>
          <p:nvPr/>
        </p:nvGrpSpPr>
        <p:grpSpPr>
          <a:xfrm>
            <a:off x="988781" y="4972378"/>
            <a:ext cx="218078" cy="275830"/>
            <a:chOff x="9865845" y="3867459"/>
            <a:chExt cx="385763" cy="519113"/>
          </a:xfrm>
        </p:grpSpPr>
        <p:sp>
          <p:nvSpPr>
            <p:cNvPr id="125" name="Freeform 147">
              <a:extLst>
                <a:ext uri="{FF2B5EF4-FFF2-40B4-BE49-F238E27FC236}">
                  <a16:creationId xmlns:a16="http://schemas.microsoft.com/office/drawing/2014/main" id="{83EFC0F7-D8A7-F6C6-ABF4-1803202A2CD6}"/>
                </a:ext>
              </a:extLst>
            </p:cNvPr>
            <p:cNvSpPr>
              <a:spLocks/>
            </p:cNvSpPr>
            <p:nvPr/>
          </p:nvSpPr>
          <p:spPr bwMode="auto">
            <a:xfrm>
              <a:off x="9865845" y="3867459"/>
              <a:ext cx="327024" cy="463551"/>
            </a:xfrm>
            <a:custGeom>
              <a:avLst/>
              <a:gdLst/>
              <a:ahLst/>
              <a:cxnLst>
                <a:cxn ang="0">
                  <a:pos x="126" y="138"/>
                </a:cxn>
                <a:cxn ang="0">
                  <a:pos x="126" y="22"/>
                </a:cxn>
                <a:cxn ang="0">
                  <a:pos x="121" y="18"/>
                </a:cxn>
                <a:cxn ang="0">
                  <a:pos x="89" y="18"/>
                </a:cxn>
                <a:cxn ang="0">
                  <a:pos x="89" y="5"/>
                </a:cxn>
                <a:cxn ang="0">
                  <a:pos x="84" y="0"/>
                </a:cxn>
                <a:cxn ang="0">
                  <a:pos x="41" y="0"/>
                </a:cxn>
                <a:cxn ang="0">
                  <a:pos x="36" y="5"/>
                </a:cxn>
                <a:cxn ang="0">
                  <a:pos x="36" y="18"/>
                </a:cxn>
                <a:cxn ang="0">
                  <a:pos x="4" y="18"/>
                </a:cxn>
                <a:cxn ang="0">
                  <a:pos x="0" y="22"/>
                </a:cxn>
                <a:cxn ang="0">
                  <a:pos x="0" y="172"/>
                </a:cxn>
                <a:cxn ang="0">
                  <a:pos x="4" y="176"/>
                </a:cxn>
                <a:cxn ang="0">
                  <a:pos x="67" y="176"/>
                </a:cxn>
              </a:cxnLst>
              <a:rect l="0" t="0" r="r" b="b"/>
              <a:pathLst>
                <a:path w="126" h="176">
                  <a:moveTo>
                    <a:pt x="126" y="138"/>
                  </a:moveTo>
                  <a:cubicBezTo>
                    <a:pt x="126" y="22"/>
                    <a:pt x="126" y="22"/>
                    <a:pt x="126" y="22"/>
                  </a:cubicBezTo>
                  <a:cubicBezTo>
                    <a:pt x="126" y="20"/>
                    <a:pt x="124" y="18"/>
                    <a:pt x="121" y="18"/>
                  </a:cubicBezTo>
                  <a:cubicBezTo>
                    <a:pt x="89" y="18"/>
                    <a:pt x="89" y="18"/>
                    <a:pt x="89" y="18"/>
                  </a:cubicBezTo>
                  <a:cubicBezTo>
                    <a:pt x="89" y="5"/>
                    <a:pt x="89" y="5"/>
                    <a:pt x="89" y="5"/>
                  </a:cubicBezTo>
                  <a:cubicBezTo>
                    <a:pt x="89" y="2"/>
                    <a:pt x="87" y="0"/>
                    <a:pt x="84" y="0"/>
                  </a:cubicBezTo>
                  <a:cubicBezTo>
                    <a:pt x="41" y="0"/>
                    <a:pt x="41" y="0"/>
                    <a:pt x="41" y="0"/>
                  </a:cubicBezTo>
                  <a:cubicBezTo>
                    <a:pt x="38" y="0"/>
                    <a:pt x="36" y="2"/>
                    <a:pt x="36" y="5"/>
                  </a:cubicBezTo>
                  <a:cubicBezTo>
                    <a:pt x="36" y="18"/>
                    <a:pt x="36" y="18"/>
                    <a:pt x="36" y="18"/>
                  </a:cubicBezTo>
                  <a:cubicBezTo>
                    <a:pt x="4" y="18"/>
                    <a:pt x="4" y="18"/>
                    <a:pt x="4" y="18"/>
                  </a:cubicBezTo>
                  <a:cubicBezTo>
                    <a:pt x="2" y="18"/>
                    <a:pt x="0" y="20"/>
                    <a:pt x="0" y="22"/>
                  </a:cubicBezTo>
                  <a:cubicBezTo>
                    <a:pt x="0" y="172"/>
                    <a:pt x="0" y="172"/>
                    <a:pt x="0" y="172"/>
                  </a:cubicBezTo>
                  <a:cubicBezTo>
                    <a:pt x="0" y="174"/>
                    <a:pt x="2" y="176"/>
                    <a:pt x="4" y="176"/>
                  </a:cubicBezTo>
                  <a:cubicBezTo>
                    <a:pt x="67" y="176"/>
                    <a:pt x="67" y="176"/>
                    <a:pt x="67" y="176"/>
                  </a:cubicBezTo>
                </a:path>
              </a:pathLst>
            </a:cu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126" name="Oval 148">
              <a:extLst>
                <a:ext uri="{FF2B5EF4-FFF2-40B4-BE49-F238E27FC236}">
                  <a16:creationId xmlns:a16="http://schemas.microsoft.com/office/drawing/2014/main" id="{16693DD3-E03C-E5EE-5E3C-5B4CEF09DD3B}"/>
                </a:ext>
              </a:extLst>
            </p:cNvPr>
            <p:cNvSpPr>
              <a:spLocks noChangeArrowheads="1"/>
            </p:cNvSpPr>
            <p:nvPr/>
          </p:nvSpPr>
          <p:spPr bwMode="auto">
            <a:xfrm>
              <a:off x="9934107" y="4010334"/>
              <a:ext cx="65087" cy="63501"/>
            </a:xfrm>
            <a:prstGeom prst="ellipse">
              <a:avLst/>
            </a:pr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127" name="Oval 149">
              <a:extLst>
                <a:ext uri="{FF2B5EF4-FFF2-40B4-BE49-F238E27FC236}">
                  <a16:creationId xmlns:a16="http://schemas.microsoft.com/office/drawing/2014/main" id="{FF2F8527-AE20-2388-E258-F814799FA7E1}"/>
                </a:ext>
              </a:extLst>
            </p:cNvPr>
            <p:cNvSpPr>
              <a:spLocks noChangeArrowheads="1"/>
            </p:cNvSpPr>
            <p:nvPr/>
          </p:nvSpPr>
          <p:spPr bwMode="auto">
            <a:xfrm>
              <a:off x="9934107" y="4102408"/>
              <a:ext cx="65087" cy="61913"/>
            </a:xfrm>
            <a:prstGeom prst="ellipse">
              <a:avLst/>
            </a:pr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128" name="Oval 150">
              <a:extLst>
                <a:ext uri="{FF2B5EF4-FFF2-40B4-BE49-F238E27FC236}">
                  <a16:creationId xmlns:a16="http://schemas.microsoft.com/office/drawing/2014/main" id="{52F796F4-8346-0DEA-0F25-3EBD9AEF9D60}"/>
                </a:ext>
              </a:extLst>
            </p:cNvPr>
            <p:cNvSpPr>
              <a:spLocks noChangeArrowheads="1"/>
            </p:cNvSpPr>
            <p:nvPr/>
          </p:nvSpPr>
          <p:spPr bwMode="auto">
            <a:xfrm>
              <a:off x="9934107" y="4192897"/>
              <a:ext cx="65087" cy="65086"/>
            </a:xfrm>
            <a:prstGeom prst="ellipse">
              <a:avLst/>
            </a:pr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129" name="Freeform 151">
              <a:extLst>
                <a:ext uri="{FF2B5EF4-FFF2-40B4-BE49-F238E27FC236}">
                  <a16:creationId xmlns:a16="http://schemas.microsoft.com/office/drawing/2014/main" id="{2D21BD41-CC4F-EF29-1DA4-9C4DA56244DB}"/>
                </a:ext>
              </a:extLst>
            </p:cNvPr>
            <p:cNvSpPr>
              <a:spLocks/>
            </p:cNvSpPr>
            <p:nvPr/>
          </p:nvSpPr>
          <p:spPr bwMode="auto">
            <a:xfrm>
              <a:off x="9961095" y="3923021"/>
              <a:ext cx="134938" cy="25399"/>
            </a:xfrm>
            <a:custGeom>
              <a:avLst/>
              <a:gdLst/>
              <a:ahLst/>
              <a:cxnLst>
                <a:cxn ang="0">
                  <a:pos x="53" y="0"/>
                </a:cxn>
                <a:cxn ang="0">
                  <a:pos x="53" y="5"/>
                </a:cxn>
                <a:cxn ang="0">
                  <a:pos x="48" y="10"/>
                </a:cxn>
                <a:cxn ang="0">
                  <a:pos x="5" y="10"/>
                </a:cxn>
                <a:cxn ang="0">
                  <a:pos x="0" y="5"/>
                </a:cxn>
                <a:cxn ang="0">
                  <a:pos x="0" y="1"/>
                </a:cxn>
              </a:cxnLst>
              <a:rect l="0" t="0" r="r" b="b"/>
              <a:pathLst>
                <a:path w="53" h="10">
                  <a:moveTo>
                    <a:pt x="53" y="0"/>
                  </a:moveTo>
                  <a:cubicBezTo>
                    <a:pt x="53" y="5"/>
                    <a:pt x="53" y="5"/>
                    <a:pt x="53" y="5"/>
                  </a:cubicBezTo>
                  <a:cubicBezTo>
                    <a:pt x="53" y="8"/>
                    <a:pt x="51" y="10"/>
                    <a:pt x="48" y="10"/>
                  </a:cubicBezTo>
                  <a:cubicBezTo>
                    <a:pt x="5" y="10"/>
                    <a:pt x="5" y="10"/>
                    <a:pt x="5" y="10"/>
                  </a:cubicBezTo>
                  <a:cubicBezTo>
                    <a:pt x="2" y="10"/>
                    <a:pt x="0" y="8"/>
                    <a:pt x="0" y="5"/>
                  </a:cubicBezTo>
                  <a:cubicBezTo>
                    <a:pt x="0" y="1"/>
                    <a:pt x="0" y="1"/>
                    <a:pt x="0" y="1"/>
                  </a:cubicBezTo>
                </a:path>
              </a:pathLst>
            </a:cu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130" name="Line 152">
              <a:extLst>
                <a:ext uri="{FF2B5EF4-FFF2-40B4-BE49-F238E27FC236}">
                  <a16:creationId xmlns:a16="http://schemas.microsoft.com/office/drawing/2014/main" id="{4907BEF0-C207-1B36-65E3-F2B3DCF05CA6}"/>
                </a:ext>
              </a:extLst>
            </p:cNvPr>
            <p:cNvSpPr>
              <a:spLocks noChangeShapeType="1"/>
            </p:cNvSpPr>
            <p:nvPr/>
          </p:nvSpPr>
          <p:spPr bwMode="auto">
            <a:xfrm>
              <a:off x="10032532" y="4021447"/>
              <a:ext cx="73026" cy="3175"/>
            </a:xfrm>
            <a:prstGeom prst="line">
              <a:avLst/>
            </a:pr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131" name="Line 153">
              <a:extLst>
                <a:ext uri="{FF2B5EF4-FFF2-40B4-BE49-F238E27FC236}">
                  <a16:creationId xmlns:a16="http://schemas.microsoft.com/office/drawing/2014/main" id="{E5342145-4F02-07EE-FAE7-153D9CBE9A26}"/>
                </a:ext>
              </a:extLst>
            </p:cNvPr>
            <p:cNvSpPr>
              <a:spLocks noChangeShapeType="1"/>
            </p:cNvSpPr>
            <p:nvPr/>
          </p:nvSpPr>
          <p:spPr bwMode="auto">
            <a:xfrm>
              <a:off x="10032532" y="4134159"/>
              <a:ext cx="73026" cy="1587"/>
            </a:xfrm>
            <a:prstGeom prst="line">
              <a:avLst/>
            </a:pr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132" name="Line 154">
              <a:extLst>
                <a:ext uri="{FF2B5EF4-FFF2-40B4-BE49-F238E27FC236}">
                  <a16:creationId xmlns:a16="http://schemas.microsoft.com/office/drawing/2014/main" id="{52C31542-185B-3417-6391-1DA381D197AD}"/>
                </a:ext>
              </a:extLst>
            </p:cNvPr>
            <p:cNvSpPr>
              <a:spLocks noChangeShapeType="1"/>
            </p:cNvSpPr>
            <p:nvPr/>
          </p:nvSpPr>
          <p:spPr bwMode="auto">
            <a:xfrm>
              <a:off x="10032532" y="4232584"/>
              <a:ext cx="30163" cy="3175"/>
            </a:xfrm>
            <a:prstGeom prst="line">
              <a:avLst/>
            </a:pr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133" name="Freeform 155">
              <a:extLst>
                <a:ext uri="{FF2B5EF4-FFF2-40B4-BE49-F238E27FC236}">
                  <a16:creationId xmlns:a16="http://schemas.microsoft.com/office/drawing/2014/main" id="{77404D02-7347-F594-C8FA-05D809D0DFAD}"/>
                </a:ext>
              </a:extLst>
            </p:cNvPr>
            <p:cNvSpPr>
              <a:spLocks/>
            </p:cNvSpPr>
            <p:nvPr/>
          </p:nvSpPr>
          <p:spPr bwMode="auto">
            <a:xfrm>
              <a:off x="10051583" y="4184959"/>
              <a:ext cx="200025" cy="201613"/>
            </a:xfrm>
            <a:custGeom>
              <a:avLst/>
              <a:gdLst/>
              <a:ahLst/>
              <a:cxnLst>
                <a:cxn ang="0">
                  <a:pos x="77" y="66"/>
                </a:cxn>
                <a:cxn ang="0">
                  <a:pos x="53" y="43"/>
                </a:cxn>
                <a:cxn ang="0">
                  <a:pos x="49" y="11"/>
                </a:cxn>
                <a:cxn ang="0">
                  <a:pos x="11" y="11"/>
                </a:cxn>
                <a:cxn ang="0">
                  <a:pos x="11" y="49"/>
                </a:cxn>
                <a:cxn ang="0">
                  <a:pos x="43" y="53"/>
                </a:cxn>
                <a:cxn ang="0">
                  <a:pos x="67" y="76"/>
                </a:cxn>
              </a:cxnLst>
              <a:rect l="0" t="0" r="r" b="b"/>
              <a:pathLst>
                <a:path w="77" h="76">
                  <a:moveTo>
                    <a:pt x="77" y="66"/>
                  </a:moveTo>
                  <a:cubicBezTo>
                    <a:pt x="53" y="43"/>
                    <a:pt x="53" y="43"/>
                    <a:pt x="53" y="43"/>
                  </a:cubicBezTo>
                  <a:cubicBezTo>
                    <a:pt x="59" y="33"/>
                    <a:pt x="58" y="19"/>
                    <a:pt x="49" y="11"/>
                  </a:cubicBezTo>
                  <a:cubicBezTo>
                    <a:pt x="38" y="0"/>
                    <a:pt x="21" y="0"/>
                    <a:pt x="11" y="11"/>
                  </a:cubicBezTo>
                  <a:cubicBezTo>
                    <a:pt x="0" y="21"/>
                    <a:pt x="0" y="38"/>
                    <a:pt x="11" y="49"/>
                  </a:cubicBezTo>
                  <a:cubicBezTo>
                    <a:pt x="20" y="57"/>
                    <a:pt x="33" y="59"/>
                    <a:pt x="43" y="53"/>
                  </a:cubicBezTo>
                  <a:cubicBezTo>
                    <a:pt x="67" y="76"/>
                    <a:pt x="67" y="76"/>
                    <a:pt x="67" y="76"/>
                  </a:cubicBezTo>
                </a:path>
              </a:pathLst>
            </a:cu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134" name="Line 156">
              <a:extLst>
                <a:ext uri="{FF2B5EF4-FFF2-40B4-BE49-F238E27FC236}">
                  <a16:creationId xmlns:a16="http://schemas.microsoft.com/office/drawing/2014/main" id="{C322F2FE-ACA8-2AE7-A80B-D7DED8A6D2AC}"/>
                </a:ext>
              </a:extLst>
            </p:cNvPr>
            <p:cNvSpPr>
              <a:spLocks noChangeShapeType="1"/>
            </p:cNvSpPr>
            <p:nvPr/>
          </p:nvSpPr>
          <p:spPr bwMode="auto">
            <a:xfrm>
              <a:off x="10129371" y="4227822"/>
              <a:ext cx="1588" cy="74612"/>
            </a:xfrm>
            <a:prstGeom prst="line">
              <a:avLst/>
            </a:pr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sp>
          <p:nvSpPr>
            <p:cNvPr id="135" name="Line 157">
              <a:extLst>
                <a:ext uri="{FF2B5EF4-FFF2-40B4-BE49-F238E27FC236}">
                  <a16:creationId xmlns:a16="http://schemas.microsoft.com/office/drawing/2014/main" id="{5C84F883-08D0-4C5C-47CD-ECA9405D134A}"/>
                </a:ext>
              </a:extLst>
            </p:cNvPr>
            <p:cNvSpPr>
              <a:spLocks noChangeShapeType="1"/>
            </p:cNvSpPr>
            <p:nvPr/>
          </p:nvSpPr>
          <p:spPr bwMode="auto">
            <a:xfrm flipH="1">
              <a:off x="10092858" y="4265922"/>
              <a:ext cx="74613" cy="3175"/>
            </a:xfrm>
            <a:prstGeom prst="line">
              <a:avLst/>
            </a:prstGeom>
            <a:noFill/>
            <a:ln w="9525" cap="rnd">
              <a:solidFill>
                <a:schemeClr val="bg1"/>
              </a:solidFill>
              <a:prstDash val="solid"/>
              <a:round/>
              <a:headEnd/>
              <a:tailEnd/>
            </a:ln>
          </p:spPr>
          <p:txBody>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Verdana"/>
                <a:ea typeface="+mn-ea"/>
                <a:cs typeface="+mn-cs"/>
              </a:endParaRPr>
            </a:p>
          </p:txBody>
        </p:sp>
      </p:grpSp>
      <p:cxnSp>
        <p:nvCxnSpPr>
          <p:cNvPr id="136" name="Connector: Elbow 135">
            <a:extLst>
              <a:ext uri="{FF2B5EF4-FFF2-40B4-BE49-F238E27FC236}">
                <a16:creationId xmlns:a16="http://schemas.microsoft.com/office/drawing/2014/main" id="{2EA114F1-D1C8-0024-EFA0-1C445D346A34}"/>
              </a:ext>
            </a:extLst>
          </p:cNvPr>
          <p:cNvCxnSpPr>
            <a:cxnSpLocks/>
            <a:stCxn id="15" idx="1"/>
            <a:endCxn id="123" idx="0"/>
          </p:cNvCxnSpPr>
          <p:nvPr/>
        </p:nvCxnSpPr>
        <p:spPr>
          <a:xfrm rot="10800000">
            <a:off x="1097819" y="4896204"/>
            <a:ext cx="1391876" cy="495719"/>
          </a:xfrm>
          <a:prstGeom prst="bentConnector4">
            <a:avLst>
              <a:gd name="adj1" fmla="val 10225"/>
              <a:gd name="adj2" fmla="val 142523"/>
            </a:avLst>
          </a:prstGeom>
          <a:ln w="19050">
            <a:solidFill>
              <a:schemeClr val="tx1">
                <a:lumMod val="95000"/>
                <a:lumOff val="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7" name="Connector: Elbow 136">
            <a:extLst>
              <a:ext uri="{FF2B5EF4-FFF2-40B4-BE49-F238E27FC236}">
                <a16:creationId xmlns:a16="http://schemas.microsoft.com/office/drawing/2014/main" id="{5ADCC7D7-6B6C-CD06-27D9-2386C12B7895}"/>
              </a:ext>
            </a:extLst>
          </p:cNvPr>
          <p:cNvCxnSpPr>
            <a:cxnSpLocks/>
            <a:endCxn id="81" idx="0"/>
          </p:cNvCxnSpPr>
          <p:nvPr/>
        </p:nvCxnSpPr>
        <p:spPr>
          <a:xfrm rot="10800000" flipV="1">
            <a:off x="5829380" y="4190049"/>
            <a:ext cx="3975793" cy="305696"/>
          </a:xfrm>
          <a:prstGeom prst="bentConnector2">
            <a:avLst/>
          </a:prstGeom>
          <a:ln w="19050">
            <a:solidFill>
              <a:schemeClr val="tx1">
                <a:lumMod val="95000"/>
                <a:lumOff val="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4A1C1C04-7468-CCB2-6A48-E92B08A43C52}"/>
              </a:ext>
            </a:extLst>
          </p:cNvPr>
          <p:cNvCxnSpPr>
            <a:cxnSpLocks/>
            <a:stCxn id="13" idx="2"/>
            <a:endCxn id="12" idx="3"/>
          </p:cNvCxnSpPr>
          <p:nvPr/>
        </p:nvCxnSpPr>
        <p:spPr>
          <a:xfrm rot="5400000">
            <a:off x="9732036" y="4487369"/>
            <a:ext cx="718223" cy="1019987"/>
          </a:xfrm>
          <a:prstGeom prst="bentConnector2">
            <a:avLst/>
          </a:prstGeom>
          <a:ln w="19050">
            <a:solidFill>
              <a:schemeClr val="tx1">
                <a:lumMod val="95000"/>
                <a:lumOff val="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9" name="Connector: Elbow 138">
            <a:extLst>
              <a:ext uri="{FF2B5EF4-FFF2-40B4-BE49-F238E27FC236}">
                <a16:creationId xmlns:a16="http://schemas.microsoft.com/office/drawing/2014/main" id="{12B627E2-4FA0-D49B-2317-418799FC64D7}"/>
              </a:ext>
            </a:extLst>
          </p:cNvPr>
          <p:cNvCxnSpPr>
            <a:cxnSpLocks/>
            <a:stCxn id="12" idx="2"/>
            <a:endCxn id="114" idx="2"/>
          </p:cNvCxnSpPr>
          <p:nvPr/>
        </p:nvCxnSpPr>
        <p:spPr>
          <a:xfrm rot="5400000" flipH="1">
            <a:off x="7808977" y="5326643"/>
            <a:ext cx="28328" cy="1609514"/>
          </a:xfrm>
          <a:prstGeom prst="bentConnector3">
            <a:avLst>
              <a:gd name="adj1" fmla="val -806975"/>
            </a:avLst>
          </a:prstGeom>
          <a:ln w="19050">
            <a:solidFill>
              <a:schemeClr val="tx1">
                <a:lumMod val="95000"/>
                <a:lumOff val="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0" name="Connector: Elbow 139">
            <a:extLst>
              <a:ext uri="{FF2B5EF4-FFF2-40B4-BE49-F238E27FC236}">
                <a16:creationId xmlns:a16="http://schemas.microsoft.com/office/drawing/2014/main" id="{CAB1609B-463C-0032-FAD1-8267F4679C7D}"/>
              </a:ext>
            </a:extLst>
          </p:cNvPr>
          <p:cNvCxnSpPr>
            <a:cxnSpLocks/>
            <a:stCxn id="11" idx="2"/>
          </p:cNvCxnSpPr>
          <p:nvPr/>
        </p:nvCxnSpPr>
        <p:spPr>
          <a:xfrm rot="5400000">
            <a:off x="4826901" y="4580502"/>
            <a:ext cx="419327" cy="1546151"/>
          </a:xfrm>
          <a:prstGeom prst="bentConnector2">
            <a:avLst/>
          </a:prstGeom>
          <a:ln w="19050">
            <a:solidFill>
              <a:schemeClr val="tx1">
                <a:lumMod val="95000"/>
                <a:lumOff val="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24459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2B556D1-161C-85C5-ED15-589FDD336B41}"/>
              </a:ext>
            </a:extLst>
          </p:cNvPr>
          <p:cNvSpPr/>
          <p:nvPr/>
        </p:nvSpPr>
        <p:spPr>
          <a:xfrm>
            <a:off x="8088309" y="1700981"/>
            <a:ext cx="3881849" cy="4802355"/>
          </a:xfrm>
          <a:prstGeom prst="rect">
            <a:avLst/>
          </a:prstGeom>
          <a:gradFill>
            <a:gsLst>
              <a:gs pos="0">
                <a:srgbClr val="12ABDB">
                  <a:lumMod val="20000"/>
                  <a:lumOff val="80000"/>
                </a:srgbClr>
              </a:gs>
              <a:gs pos="100000">
                <a:srgbClr val="FFFFFF"/>
              </a:gs>
            </a:gsLst>
            <a:lin ang="5400000" scaled="1"/>
          </a:gradFill>
          <a:ln w="12700" cap="flat" cmpd="sng" algn="ctr">
            <a:solidFill>
              <a:srgbClr val="0070AD">
                <a:shade val="50000"/>
              </a:srgbClr>
            </a:solidFill>
            <a:prstDash val="solid"/>
            <a:miter lim="800000"/>
          </a:ln>
          <a:effectLst/>
        </p:spPr>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Ubuntu Medium"/>
                <a:ea typeface="+mn-ea"/>
                <a:cs typeface="+mn-cs"/>
              </a:rPr>
              <a:t>Step 1</a:t>
            </a:r>
            <a:r>
              <a:rPr kumimoji="0" lang="en-US" sz="1200" b="0" i="0" u="none" strike="noStrike" kern="0" cap="none" spc="0" normalizeH="0" baseline="0" noProof="0">
                <a:ln>
                  <a:noFill/>
                </a:ln>
                <a:solidFill>
                  <a:prstClr val="black"/>
                </a:solidFill>
                <a:effectLst/>
                <a:uLnTx/>
                <a:uFillTx/>
                <a:latin typeface="Ubuntu Medium"/>
                <a:ea typeface="+mn-ea"/>
                <a:cs typeface="+mn-cs"/>
              </a:rPr>
              <a:t> - Gather Performance Requirements - Collect and Collate all the Performance Requirements. Identify the response time, throughput and resource utilization go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Ubuntu Medium"/>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Ubuntu Medium"/>
                <a:ea typeface="+mn-ea"/>
                <a:cs typeface="+mn-cs"/>
              </a:rPr>
              <a:t>Step 2</a:t>
            </a:r>
            <a:r>
              <a:rPr kumimoji="0" lang="en-US" sz="1200" b="0" i="0" u="none" strike="noStrike" kern="0" cap="none" spc="0" normalizeH="0" baseline="0" noProof="0">
                <a:ln>
                  <a:noFill/>
                </a:ln>
                <a:solidFill>
                  <a:prstClr val="black"/>
                </a:solidFill>
                <a:effectLst/>
                <a:uLnTx/>
                <a:uFillTx/>
                <a:latin typeface="Ubuntu Medium"/>
                <a:ea typeface="+mn-ea"/>
                <a:cs typeface="+mn-cs"/>
              </a:rPr>
              <a:t> - Plan and Design Tests – Capacity Sizing and Workload Characteristics based test Scenarios. Determine variability among test data. Define test data and establish metrics to be collec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Ubuntu Medium"/>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Ubuntu Medium"/>
                <a:ea typeface="+mn-ea"/>
                <a:cs typeface="+mn-cs"/>
              </a:rPr>
              <a:t>Step 3</a:t>
            </a:r>
            <a:r>
              <a:rPr kumimoji="0" lang="en-US" sz="1200" b="0" i="0" u="none" strike="noStrike" kern="0" cap="none" spc="0" normalizeH="0" baseline="0" noProof="0">
                <a:ln>
                  <a:noFill/>
                </a:ln>
                <a:solidFill>
                  <a:prstClr val="black"/>
                </a:solidFill>
                <a:effectLst/>
                <a:uLnTx/>
                <a:uFillTx/>
                <a:latin typeface="Ubuntu Medium"/>
                <a:ea typeface="+mn-ea"/>
                <a:cs typeface="+mn-cs"/>
              </a:rPr>
              <a:t> – Code profiling and identifying code bottlenecks. Prepare the test environment, tools and resources necessary to execute the test. Develop the performance tests in accordance with the test desig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Ubuntu Medium"/>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Ubuntu Medium"/>
                <a:ea typeface="+mn-ea"/>
                <a:cs typeface="+mn-cs"/>
              </a:rPr>
              <a:t>Step 4</a:t>
            </a:r>
            <a:r>
              <a:rPr kumimoji="0" lang="en-US" sz="1200" b="0" i="0" u="none" strike="noStrike" kern="0" cap="none" spc="0" normalizeH="0" baseline="0" noProof="0">
                <a:ln>
                  <a:noFill/>
                </a:ln>
                <a:solidFill>
                  <a:prstClr val="black"/>
                </a:solidFill>
                <a:effectLst/>
                <a:uLnTx/>
                <a:uFillTx/>
                <a:latin typeface="Ubuntu Medium"/>
                <a:ea typeface="+mn-ea"/>
                <a:cs typeface="+mn-cs"/>
              </a:rPr>
              <a:t> - Run and monitor performance tests. Execute the tests with appropriate test data and test results collection. Analyze Results, consolidate and share results 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Ubuntu Medium"/>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Ubuntu Medium"/>
                <a:ea typeface="+mn-ea"/>
                <a:cs typeface="+mn-cs"/>
              </a:rPr>
              <a:t>Step 5 </a:t>
            </a:r>
            <a:r>
              <a:rPr kumimoji="0" lang="en-US" sz="1200" b="0" i="0" u="none" strike="noStrike" kern="0" cap="none" spc="0" normalizeH="0" baseline="0" noProof="0">
                <a:ln>
                  <a:noFill/>
                </a:ln>
                <a:solidFill>
                  <a:prstClr val="black"/>
                </a:solidFill>
                <a:effectLst/>
                <a:uLnTx/>
                <a:uFillTx/>
                <a:latin typeface="Ubuntu Medium"/>
                <a:ea typeface="+mn-ea"/>
                <a:cs typeface="+mn-cs"/>
              </a:rPr>
              <a:t>– Performance Monitoring and future capacity planning</a:t>
            </a:r>
          </a:p>
        </p:txBody>
      </p:sp>
      <p:grpSp>
        <p:nvGrpSpPr>
          <p:cNvPr id="5" name="Group 4">
            <a:extLst>
              <a:ext uri="{FF2B5EF4-FFF2-40B4-BE49-F238E27FC236}">
                <a16:creationId xmlns:a16="http://schemas.microsoft.com/office/drawing/2014/main" id="{7BD0329E-164D-0CB9-46EB-FBF0C471A2D2}"/>
              </a:ext>
            </a:extLst>
          </p:cNvPr>
          <p:cNvGrpSpPr/>
          <p:nvPr/>
        </p:nvGrpSpPr>
        <p:grpSpPr>
          <a:xfrm>
            <a:off x="291409" y="1076024"/>
            <a:ext cx="7668475" cy="2847048"/>
            <a:chOff x="190439" y="1518106"/>
            <a:chExt cx="5831061" cy="3912827"/>
          </a:xfrm>
        </p:grpSpPr>
        <p:sp>
          <p:nvSpPr>
            <p:cNvPr id="6" name="Rectangle 5">
              <a:extLst>
                <a:ext uri="{FF2B5EF4-FFF2-40B4-BE49-F238E27FC236}">
                  <a16:creationId xmlns:a16="http://schemas.microsoft.com/office/drawing/2014/main" id="{ACD09966-CB68-3D46-E4AD-11B6652DD518}"/>
                </a:ext>
              </a:extLst>
            </p:cNvPr>
            <p:cNvSpPr/>
            <p:nvPr/>
          </p:nvSpPr>
          <p:spPr>
            <a:xfrm>
              <a:off x="1353757" y="1966664"/>
              <a:ext cx="919410" cy="1419688"/>
            </a:xfrm>
            <a:prstGeom prst="rect">
              <a:avLst/>
            </a:prstGeom>
            <a:solidFill>
              <a:srgbClr val="12ABDB"/>
            </a:solidFill>
            <a:ln w="12700" cap="flat" cmpd="sng" algn="ctr">
              <a:noFill/>
              <a:prstDash val="solid"/>
              <a:miter lim="800000"/>
            </a:ln>
            <a:effectLst/>
          </p:spPr>
          <p:txBody>
            <a:bodyPr lIns="91428" tIns="45715" rIns="91428" bIns="4571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Ubuntu Medium"/>
                  <a:ea typeface="+mn-ea"/>
                  <a:cs typeface="+mn-cs"/>
                </a:rPr>
                <a:t>Design</a:t>
              </a:r>
            </a:p>
          </p:txBody>
        </p:sp>
        <p:sp>
          <p:nvSpPr>
            <p:cNvPr id="7" name="Rectangle 6">
              <a:extLst>
                <a:ext uri="{FF2B5EF4-FFF2-40B4-BE49-F238E27FC236}">
                  <a16:creationId xmlns:a16="http://schemas.microsoft.com/office/drawing/2014/main" id="{93FAACAD-ED87-BF99-9B80-089359963322}"/>
                </a:ext>
              </a:extLst>
            </p:cNvPr>
            <p:cNvSpPr/>
            <p:nvPr/>
          </p:nvSpPr>
          <p:spPr>
            <a:xfrm>
              <a:off x="1354958" y="3339612"/>
              <a:ext cx="919410" cy="1419688"/>
            </a:xfrm>
            <a:prstGeom prst="rect">
              <a:avLst/>
            </a:prstGeom>
            <a:solidFill>
              <a:srgbClr val="00C37B"/>
            </a:solidFill>
            <a:ln w="12700" cap="flat" cmpd="sng" algn="ctr">
              <a:noFill/>
              <a:prstDash val="solid"/>
              <a:miter lim="800000"/>
            </a:ln>
            <a:effectLst/>
          </p:spPr>
          <p:txBody>
            <a:bodyPr lIns="0" tIns="47892" rIns="0" bIns="478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Ubuntu Medium"/>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Ubuntu Medium"/>
                  <a:ea typeface="+mn-ea"/>
                  <a:cs typeface="+mn-cs"/>
                </a:rPr>
                <a:t>Performance Modeling &amp; Architecture Optimiz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Ubuntu Medium"/>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Ubuntu Medium"/>
                  <a:ea typeface="+mn-ea"/>
                  <a:cs typeface="+mn-cs"/>
                </a:rPr>
                <a:t>Capacity Sizing</a:t>
              </a:r>
            </a:p>
          </p:txBody>
        </p:sp>
        <p:sp>
          <p:nvSpPr>
            <p:cNvPr id="8" name="Oval 7">
              <a:extLst>
                <a:ext uri="{FF2B5EF4-FFF2-40B4-BE49-F238E27FC236}">
                  <a16:creationId xmlns:a16="http://schemas.microsoft.com/office/drawing/2014/main" id="{5D70591C-3425-825C-1490-832D677E0A74}"/>
                </a:ext>
              </a:extLst>
            </p:cNvPr>
            <p:cNvSpPr/>
            <p:nvPr/>
          </p:nvSpPr>
          <p:spPr>
            <a:xfrm>
              <a:off x="1354146" y="3094987"/>
              <a:ext cx="451528" cy="510166"/>
            </a:xfrm>
            <a:prstGeom prst="ellipse">
              <a:avLst/>
            </a:prstGeom>
            <a:solidFill>
              <a:srgbClr val="12ABDB"/>
            </a:solidFill>
            <a:ln w="12700" cap="flat" cmpd="sng" algn="ctr">
              <a:noFill/>
              <a:prstDash val="solid"/>
              <a:miter lim="800000"/>
            </a:ln>
            <a:effectLst/>
          </p:spPr>
          <p:txBody>
            <a:bodyPr lIns="91428" tIns="45715" rIns="91428" bIns="4571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Ubuntu Medium"/>
                <a:ea typeface="+mn-ea"/>
                <a:cs typeface="+mn-cs"/>
              </a:endParaRPr>
            </a:p>
          </p:txBody>
        </p:sp>
        <p:sp>
          <p:nvSpPr>
            <p:cNvPr id="9" name="Oval 8">
              <a:extLst>
                <a:ext uri="{FF2B5EF4-FFF2-40B4-BE49-F238E27FC236}">
                  <a16:creationId xmlns:a16="http://schemas.microsoft.com/office/drawing/2014/main" id="{F97C2272-92D4-8DD2-1B83-B5B289FF4EB9}"/>
                </a:ext>
              </a:extLst>
            </p:cNvPr>
            <p:cNvSpPr/>
            <p:nvPr/>
          </p:nvSpPr>
          <p:spPr>
            <a:xfrm>
              <a:off x="1805728" y="3093595"/>
              <a:ext cx="465492" cy="510166"/>
            </a:xfrm>
            <a:prstGeom prst="ellipse">
              <a:avLst/>
            </a:prstGeom>
            <a:solidFill>
              <a:srgbClr val="00C37B"/>
            </a:solidFill>
            <a:ln w="12700" cap="flat" cmpd="sng" algn="ctr">
              <a:noFill/>
              <a:prstDash val="solid"/>
              <a:miter lim="800000"/>
            </a:ln>
            <a:effectLst/>
          </p:spPr>
          <p:txBody>
            <a:bodyPr lIns="95784" tIns="47892" rIns="95784" bIns="478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Ubuntu Medium"/>
                <a:ea typeface="+mn-ea"/>
                <a:cs typeface="+mn-cs"/>
              </a:endParaRPr>
            </a:p>
          </p:txBody>
        </p:sp>
        <p:sp>
          <p:nvSpPr>
            <p:cNvPr id="10" name="Rectangle 9">
              <a:extLst>
                <a:ext uri="{FF2B5EF4-FFF2-40B4-BE49-F238E27FC236}">
                  <a16:creationId xmlns:a16="http://schemas.microsoft.com/office/drawing/2014/main" id="{5BFB62D7-D1F8-565B-46E7-5C97C55E16E6}"/>
                </a:ext>
              </a:extLst>
            </p:cNvPr>
            <p:cNvSpPr/>
            <p:nvPr/>
          </p:nvSpPr>
          <p:spPr>
            <a:xfrm>
              <a:off x="2502954" y="1966663"/>
              <a:ext cx="919410" cy="1419688"/>
            </a:xfrm>
            <a:prstGeom prst="rect">
              <a:avLst/>
            </a:prstGeom>
            <a:solidFill>
              <a:srgbClr val="12ABDB"/>
            </a:solidFill>
            <a:ln w="12700" cap="flat" cmpd="sng" algn="ctr">
              <a:noFill/>
              <a:prstDash val="solid"/>
              <a:miter lim="800000"/>
            </a:ln>
            <a:effectLst/>
          </p:spPr>
          <p:txBody>
            <a:bodyPr lIns="91428" tIns="45715" rIns="91428" bIns="4571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Ubuntu Medium"/>
                  <a:ea typeface="+mn-ea"/>
                  <a:cs typeface="+mn-cs"/>
                </a:rPr>
                <a:t>Build</a:t>
              </a:r>
            </a:p>
          </p:txBody>
        </p:sp>
        <p:sp>
          <p:nvSpPr>
            <p:cNvPr id="11" name="Rectangle 10">
              <a:extLst>
                <a:ext uri="{FF2B5EF4-FFF2-40B4-BE49-F238E27FC236}">
                  <a16:creationId xmlns:a16="http://schemas.microsoft.com/office/drawing/2014/main" id="{1D916CC5-4888-867B-7D42-FAB8FC36D873}"/>
                </a:ext>
              </a:extLst>
            </p:cNvPr>
            <p:cNvSpPr/>
            <p:nvPr/>
          </p:nvSpPr>
          <p:spPr>
            <a:xfrm>
              <a:off x="2504155" y="3339612"/>
              <a:ext cx="919410" cy="1419688"/>
            </a:xfrm>
            <a:prstGeom prst="rect">
              <a:avLst/>
            </a:prstGeom>
            <a:solidFill>
              <a:srgbClr val="00C37B"/>
            </a:solidFill>
            <a:ln w="12700" cap="flat" cmpd="sng" algn="ctr">
              <a:noFill/>
              <a:prstDash val="solid"/>
              <a:miter lim="800000"/>
            </a:ln>
            <a:effectLst/>
          </p:spPr>
          <p:txBody>
            <a:bodyPr lIns="0" tIns="47892" rIns="0" bIns="478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Ubuntu Medium"/>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Ubuntu Medium"/>
                  <a:ea typeface="+mn-ea"/>
                  <a:cs typeface="+mn-cs"/>
                </a:rPr>
                <a:t>Code Profiling </a:t>
              </a:r>
              <a:br>
                <a:rPr kumimoji="0" lang="en-US" sz="900" b="0" i="0" u="none" strike="noStrike" kern="0" cap="none" spc="0" normalizeH="0" baseline="0" noProof="0">
                  <a:ln>
                    <a:noFill/>
                  </a:ln>
                  <a:solidFill>
                    <a:srgbClr val="FFFFFF"/>
                  </a:solidFill>
                  <a:effectLst/>
                  <a:uLnTx/>
                  <a:uFillTx/>
                  <a:latin typeface="Ubuntu Medium"/>
                  <a:ea typeface="+mn-ea"/>
                  <a:cs typeface="+mn-cs"/>
                </a:rPr>
              </a:br>
              <a:r>
                <a:rPr kumimoji="0" lang="en-US" sz="900" b="0" i="0" u="none" strike="noStrike" kern="0" cap="none" spc="0" normalizeH="0" baseline="0" noProof="0">
                  <a:ln>
                    <a:noFill/>
                  </a:ln>
                  <a:solidFill>
                    <a:srgbClr val="FFFFFF"/>
                  </a:solidFill>
                  <a:effectLst/>
                  <a:uLnTx/>
                  <a:uFillTx/>
                  <a:latin typeface="Ubuntu Medium"/>
                  <a:ea typeface="+mn-ea"/>
                  <a:cs typeface="+mn-cs"/>
                </a:rPr>
                <a:t>&amp; Optimiz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Ubuntu Medium"/>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Ubuntu Medium"/>
                  <a:ea typeface="+mn-ea"/>
                  <a:cs typeface="+mn-cs"/>
                </a:rPr>
                <a:t>Unit Performance Testing &amp; Tuning</a:t>
              </a:r>
            </a:p>
          </p:txBody>
        </p:sp>
        <p:sp>
          <p:nvSpPr>
            <p:cNvPr id="12" name="Oval 11">
              <a:extLst>
                <a:ext uri="{FF2B5EF4-FFF2-40B4-BE49-F238E27FC236}">
                  <a16:creationId xmlns:a16="http://schemas.microsoft.com/office/drawing/2014/main" id="{6684DD1B-BDAE-9758-2EE4-5C6C1473F40A}"/>
                </a:ext>
              </a:extLst>
            </p:cNvPr>
            <p:cNvSpPr/>
            <p:nvPr/>
          </p:nvSpPr>
          <p:spPr>
            <a:xfrm>
              <a:off x="2503343" y="3094986"/>
              <a:ext cx="451528" cy="510166"/>
            </a:xfrm>
            <a:prstGeom prst="ellipse">
              <a:avLst/>
            </a:prstGeom>
            <a:solidFill>
              <a:srgbClr val="12ABDB"/>
            </a:solidFill>
            <a:ln w="12700" cap="flat" cmpd="sng" algn="ctr">
              <a:noFill/>
              <a:prstDash val="solid"/>
              <a:miter lim="800000"/>
            </a:ln>
            <a:effectLst/>
          </p:spPr>
          <p:txBody>
            <a:bodyPr lIns="91428" tIns="45715" rIns="91428" bIns="4571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Ubuntu Medium"/>
                <a:ea typeface="+mn-ea"/>
                <a:cs typeface="+mn-cs"/>
              </a:endParaRPr>
            </a:p>
          </p:txBody>
        </p:sp>
        <p:sp>
          <p:nvSpPr>
            <p:cNvPr id="13" name="Oval 12">
              <a:extLst>
                <a:ext uri="{FF2B5EF4-FFF2-40B4-BE49-F238E27FC236}">
                  <a16:creationId xmlns:a16="http://schemas.microsoft.com/office/drawing/2014/main" id="{C614D57C-0BC5-2F51-271D-6B0AE3A06CAC}"/>
                </a:ext>
              </a:extLst>
            </p:cNvPr>
            <p:cNvSpPr/>
            <p:nvPr/>
          </p:nvSpPr>
          <p:spPr>
            <a:xfrm>
              <a:off x="2954926" y="3093594"/>
              <a:ext cx="465492" cy="510166"/>
            </a:xfrm>
            <a:prstGeom prst="ellipse">
              <a:avLst/>
            </a:prstGeom>
            <a:solidFill>
              <a:srgbClr val="00C37B"/>
            </a:solidFill>
            <a:ln w="12700" cap="flat" cmpd="sng" algn="ctr">
              <a:noFill/>
              <a:prstDash val="solid"/>
              <a:miter lim="800000"/>
            </a:ln>
            <a:effectLst/>
          </p:spPr>
          <p:txBody>
            <a:bodyPr lIns="95784" tIns="47892" rIns="95784" bIns="478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Ubuntu Medium"/>
                <a:ea typeface="+mn-ea"/>
                <a:cs typeface="+mn-cs"/>
              </a:endParaRPr>
            </a:p>
          </p:txBody>
        </p:sp>
        <p:sp>
          <p:nvSpPr>
            <p:cNvPr id="14" name="Pentagon 23">
              <a:extLst>
                <a:ext uri="{FF2B5EF4-FFF2-40B4-BE49-F238E27FC236}">
                  <a16:creationId xmlns:a16="http://schemas.microsoft.com/office/drawing/2014/main" id="{34BDE0EA-2472-D4C1-C82F-BA87055C8870}"/>
                </a:ext>
              </a:extLst>
            </p:cNvPr>
            <p:cNvSpPr/>
            <p:nvPr/>
          </p:nvSpPr>
          <p:spPr>
            <a:xfrm>
              <a:off x="190439" y="4825066"/>
              <a:ext cx="3344023" cy="605867"/>
            </a:xfrm>
            <a:prstGeom prst="homePlate">
              <a:avLst>
                <a:gd name="adj" fmla="val 26191"/>
              </a:avLst>
            </a:prstGeom>
            <a:solidFill>
              <a:srgbClr val="00C37B"/>
            </a:solidFill>
            <a:ln w="12700" cap="flat" cmpd="sng" algn="ctr">
              <a:noFill/>
              <a:prstDash val="solid"/>
              <a:miter lim="800000"/>
            </a:ln>
            <a:effectLst/>
          </p:spPr>
          <p:txBody>
            <a:bodyPr lIns="95784" tIns="47892" rIns="95784" bIns="478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Ubuntu Medium"/>
                  <a:ea typeface="+mn-ea"/>
                  <a:cs typeface="+mn-cs"/>
                </a:rPr>
                <a:t>Performance Engineering</a:t>
              </a:r>
            </a:p>
          </p:txBody>
        </p:sp>
        <p:sp>
          <p:nvSpPr>
            <p:cNvPr id="15" name="Right Arrow 26">
              <a:extLst>
                <a:ext uri="{FF2B5EF4-FFF2-40B4-BE49-F238E27FC236}">
                  <a16:creationId xmlns:a16="http://schemas.microsoft.com/office/drawing/2014/main" id="{D1C2C1C6-ACF3-6D40-21F6-5F0CC94C2257}"/>
                </a:ext>
              </a:extLst>
            </p:cNvPr>
            <p:cNvSpPr/>
            <p:nvPr/>
          </p:nvSpPr>
          <p:spPr>
            <a:xfrm>
              <a:off x="1176577" y="3209417"/>
              <a:ext cx="158797" cy="435135"/>
            </a:xfrm>
            <a:prstGeom prst="rightArrow">
              <a:avLst/>
            </a:prstGeom>
            <a:solidFill>
              <a:srgbClr val="FFFFFF">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lumMod val="50000"/>
                  </a:srgbClr>
                </a:solidFill>
                <a:effectLst/>
                <a:uLnTx/>
                <a:uFillTx/>
                <a:latin typeface="Ubuntu Medium"/>
                <a:ea typeface="+mn-ea"/>
                <a:cs typeface="+mn-cs"/>
              </a:endParaRPr>
            </a:p>
          </p:txBody>
        </p:sp>
        <p:sp>
          <p:nvSpPr>
            <p:cNvPr id="16" name="Rectangle 15">
              <a:extLst>
                <a:ext uri="{FF2B5EF4-FFF2-40B4-BE49-F238E27FC236}">
                  <a16:creationId xmlns:a16="http://schemas.microsoft.com/office/drawing/2014/main" id="{3A17B4AC-D026-3378-067F-35C4762DC4BA}"/>
                </a:ext>
              </a:extLst>
            </p:cNvPr>
            <p:cNvSpPr/>
            <p:nvPr/>
          </p:nvSpPr>
          <p:spPr>
            <a:xfrm>
              <a:off x="190439" y="1965054"/>
              <a:ext cx="919410" cy="1419688"/>
            </a:xfrm>
            <a:prstGeom prst="rect">
              <a:avLst/>
            </a:prstGeom>
            <a:solidFill>
              <a:srgbClr val="12ABDB"/>
            </a:solidFill>
            <a:ln w="12700" cap="flat" cmpd="sng" algn="ctr">
              <a:noFill/>
              <a:prstDash val="solid"/>
              <a:miter lim="800000"/>
            </a:ln>
            <a:effectLst/>
          </p:spPr>
          <p:txBody>
            <a:bodyPr lIns="91428" tIns="45715" rIns="91428" bIns="4571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Ubuntu Medium"/>
                  <a:ea typeface="+mn-ea"/>
                  <a:cs typeface="+mn-cs"/>
                </a:rPr>
                <a:t>Plan</a:t>
              </a:r>
            </a:p>
          </p:txBody>
        </p:sp>
        <p:sp>
          <p:nvSpPr>
            <p:cNvPr id="17" name="Rectangle 16">
              <a:extLst>
                <a:ext uri="{FF2B5EF4-FFF2-40B4-BE49-F238E27FC236}">
                  <a16:creationId xmlns:a16="http://schemas.microsoft.com/office/drawing/2014/main" id="{E0F04FBB-8A31-1BC3-DBD9-E46031ACEE8F}"/>
                </a:ext>
              </a:extLst>
            </p:cNvPr>
            <p:cNvSpPr/>
            <p:nvPr/>
          </p:nvSpPr>
          <p:spPr>
            <a:xfrm>
              <a:off x="191640" y="3338001"/>
              <a:ext cx="919410" cy="1419688"/>
            </a:xfrm>
            <a:prstGeom prst="rect">
              <a:avLst/>
            </a:prstGeom>
            <a:solidFill>
              <a:srgbClr val="00C37B"/>
            </a:solidFill>
            <a:ln w="12700" cap="flat" cmpd="sng" algn="ctr">
              <a:noFill/>
              <a:prstDash val="solid"/>
              <a:miter lim="800000"/>
            </a:ln>
            <a:effectLst/>
          </p:spPr>
          <p:txBody>
            <a:bodyPr lIns="0" tIns="47892" rIns="0" bIns="478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Ubuntu Medium"/>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Ubuntu Medium"/>
                  <a:ea typeface="+mn-ea"/>
                  <a:cs typeface="+mn-cs"/>
                </a:rPr>
                <a:t>Performance Requirements Definition</a:t>
              </a:r>
            </a:p>
          </p:txBody>
        </p:sp>
        <p:sp>
          <p:nvSpPr>
            <p:cNvPr id="18" name="Oval 17">
              <a:extLst>
                <a:ext uri="{FF2B5EF4-FFF2-40B4-BE49-F238E27FC236}">
                  <a16:creationId xmlns:a16="http://schemas.microsoft.com/office/drawing/2014/main" id="{62EC319C-A4D7-DE7A-BF6A-F10DC9C701DA}"/>
                </a:ext>
              </a:extLst>
            </p:cNvPr>
            <p:cNvSpPr/>
            <p:nvPr/>
          </p:nvSpPr>
          <p:spPr>
            <a:xfrm>
              <a:off x="190828" y="3093377"/>
              <a:ext cx="451528" cy="510166"/>
            </a:xfrm>
            <a:prstGeom prst="ellipse">
              <a:avLst/>
            </a:prstGeom>
            <a:solidFill>
              <a:srgbClr val="12ABDB"/>
            </a:solidFill>
            <a:ln w="12700" cap="flat" cmpd="sng" algn="ctr">
              <a:noFill/>
              <a:prstDash val="solid"/>
              <a:miter lim="800000"/>
            </a:ln>
            <a:effectLst/>
          </p:spPr>
          <p:txBody>
            <a:bodyPr lIns="91428" tIns="45715" rIns="91428" bIns="4571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Ubuntu Medium"/>
                <a:ea typeface="+mn-ea"/>
                <a:cs typeface="+mn-cs"/>
              </a:endParaRPr>
            </a:p>
          </p:txBody>
        </p:sp>
        <p:sp>
          <p:nvSpPr>
            <p:cNvPr id="19" name="Oval 18">
              <a:extLst>
                <a:ext uri="{FF2B5EF4-FFF2-40B4-BE49-F238E27FC236}">
                  <a16:creationId xmlns:a16="http://schemas.microsoft.com/office/drawing/2014/main" id="{0B9C1FA7-8557-00D7-92B7-B7EB9E8D0F40}"/>
                </a:ext>
              </a:extLst>
            </p:cNvPr>
            <p:cNvSpPr/>
            <p:nvPr/>
          </p:nvSpPr>
          <p:spPr>
            <a:xfrm>
              <a:off x="642410" y="3091985"/>
              <a:ext cx="465492" cy="510166"/>
            </a:xfrm>
            <a:prstGeom prst="ellipse">
              <a:avLst/>
            </a:prstGeom>
            <a:solidFill>
              <a:srgbClr val="00C37B"/>
            </a:solidFill>
            <a:ln w="12700" cap="flat" cmpd="sng" algn="ctr">
              <a:noFill/>
              <a:prstDash val="solid"/>
              <a:miter lim="800000"/>
            </a:ln>
            <a:effectLst/>
          </p:spPr>
          <p:txBody>
            <a:bodyPr lIns="95784" tIns="47892" rIns="95784" bIns="478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Ubuntu Medium"/>
                <a:ea typeface="+mn-ea"/>
                <a:cs typeface="+mn-cs"/>
              </a:endParaRPr>
            </a:p>
          </p:txBody>
        </p:sp>
        <p:sp>
          <p:nvSpPr>
            <p:cNvPr id="20" name="Right Arrow 32">
              <a:extLst>
                <a:ext uri="{FF2B5EF4-FFF2-40B4-BE49-F238E27FC236}">
                  <a16:creationId xmlns:a16="http://schemas.microsoft.com/office/drawing/2014/main" id="{4D1F93A0-BA9A-458E-5E3C-A7DF0376B304}"/>
                </a:ext>
              </a:extLst>
            </p:cNvPr>
            <p:cNvSpPr/>
            <p:nvPr/>
          </p:nvSpPr>
          <p:spPr>
            <a:xfrm>
              <a:off x="2323023" y="3198136"/>
              <a:ext cx="158797" cy="435135"/>
            </a:xfrm>
            <a:prstGeom prst="rightArrow">
              <a:avLst/>
            </a:prstGeom>
            <a:solidFill>
              <a:srgbClr val="FFFFFF">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lumMod val="50000"/>
                  </a:srgbClr>
                </a:solidFill>
                <a:effectLst/>
                <a:uLnTx/>
                <a:uFillTx/>
                <a:latin typeface="Ubuntu Medium"/>
                <a:ea typeface="+mn-ea"/>
                <a:cs typeface="+mn-cs"/>
              </a:endParaRPr>
            </a:p>
          </p:txBody>
        </p:sp>
        <p:sp>
          <p:nvSpPr>
            <p:cNvPr id="21" name="Right Arrow 33">
              <a:extLst>
                <a:ext uri="{FF2B5EF4-FFF2-40B4-BE49-F238E27FC236}">
                  <a16:creationId xmlns:a16="http://schemas.microsoft.com/office/drawing/2014/main" id="{4AC09D16-A34F-519F-EDD5-C709D40941A3}"/>
                </a:ext>
              </a:extLst>
            </p:cNvPr>
            <p:cNvSpPr/>
            <p:nvPr/>
          </p:nvSpPr>
          <p:spPr>
            <a:xfrm>
              <a:off x="3455064" y="3196525"/>
              <a:ext cx="158797" cy="435135"/>
            </a:xfrm>
            <a:prstGeom prst="rightArrow">
              <a:avLst/>
            </a:prstGeom>
            <a:solidFill>
              <a:srgbClr val="FFFFFF">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lumMod val="50000"/>
                  </a:srgbClr>
                </a:solidFill>
                <a:effectLst/>
                <a:uLnTx/>
                <a:uFillTx/>
                <a:latin typeface="Ubuntu Medium"/>
                <a:ea typeface="+mn-ea"/>
                <a:cs typeface="+mn-cs"/>
              </a:endParaRPr>
            </a:p>
          </p:txBody>
        </p:sp>
        <p:sp>
          <p:nvSpPr>
            <p:cNvPr id="22" name="Rectangle 21">
              <a:extLst>
                <a:ext uri="{FF2B5EF4-FFF2-40B4-BE49-F238E27FC236}">
                  <a16:creationId xmlns:a16="http://schemas.microsoft.com/office/drawing/2014/main" id="{5370C3AB-67C0-5801-BD68-EAC48801E63D}"/>
                </a:ext>
              </a:extLst>
            </p:cNvPr>
            <p:cNvSpPr/>
            <p:nvPr/>
          </p:nvSpPr>
          <p:spPr>
            <a:xfrm>
              <a:off x="3613861" y="1965054"/>
              <a:ext cx="1020412" cy="1418825"/>
            </a:xfrm>
            <a:prstGeom prst="rect">
              <a:avLst/>
            </a:prstGeom>
            <a:solidFill>
              <a:srgbClr val="12ABDB"/>
            </a:solidFill>
            <a:ln w="12700" cap="flat" cmpd="sng" algn="ctr">
              <a:noFill/>
              <a:prstDash val="solid"/>
              <a:miter lim="800000"/>
            </a:ln>
            <a:effectLst/>
          </p:spPr>
          <p:txBody>
            <a:bodyPr lIns="91428" tIns="45715" rIns="91428" bIns="4571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Ubuntu Medium"/>
                  <a:ea typeface="+mn-ea"/>
                  <a:cs typeface="+mn-cs"/>
                </a:rPr>
                <a:t>Test</a:t>
              </a:r>
            </a:p>
          </p:txBody>
        </p:sp>
        <p:sp>
          <p:nvSpPr>
            <p:cNvPr id="23" name="Rectangle 22">
              <a:extLst>
                <a:ext uri="{FF2B5EF4-FFF2-40B4-BE49-F238E27FC236}">
                  <a16:creationId xmlns:a16="http://schemas.microsoft.com/office/drawing/2014/main" id="{6537B855-63FC-CFA5-3802-3664AC68B2CC}"/>
                </a:ext>
              </a:extLst>
            </p:cNvPr>
            <p:cNvSpPr/>
            <p:nvPr/>
          </p:nvSpPr>
          <p:spPr>
            <a:xfrm>
              <a:off x="3615193" y="3337167"/>
              <a:ext cx="1020412" cy="1418825"/>
            </a:xfrm>
            <a:prstGeom prst="rect">
              <a:avLst/>
            </a:prstGeom>
            <a:solidFill>
              <a:srgbClr val="000000"/>
            </a:solidFill>
            <a:ln w="12700" cap="flat" cmpd="sng" algn="ctr">
              <a:noFill/>
              <a:prstDash val="solid"/>
              <a:miter lim="800000"/>
            </a:ln>
            <a:effectLst/>
          </p:spPr>
          <p:txBody>
            <a:bodyPr lIns="0" tIns="47892" rIns="0" bIns="478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Ubuntu Medium"/>
                  <a:ea typeface="+mn-ea"/>
                  <a:cs typeface="+mn-cs"/>
                </a:rPr>
                <a:t>Comprehensive Performance Testing &amp; </a:t>
              </a:r>
              <a:br>
                <a:rPr kumimoji="0" lang="en-US" sz="900" b="0" i="0" u="none" strike="noStrike" kern="0" cap="none" spc="0" normalizeH="0" baseline="0" noProof="0">
                  <a:ln>
                    <a:noFill/>
                  </a:ln>
                  <a:solidFill>
                    <a:srgbClr val="FFFFFF"/>
                  </a:solidFill>
                  <a:effectLst/>
                  <a:uLnTx/>
                  <a:uFillTx/>
                  <a:latin typeface="Ubuntu Medium"/>
                  <a:ea typeface="+mn-ea"/>
                  <a:cs typeface="+mn-cs"/>
                </a:rPr>
              </a:br>
              <a:r>
                <a:rPr kumimoji="0" lang="en-US" sz="900" b="0" i="0" u="none" strike="noStrike" kern="0" cap="none" spc="0" normalizeH="0" baseline="0" noProof="0">
                  <a:ln>
                    <a:noFill/>
                  </a:ln>
                  <a:solidFill>
                    <a:srgbClr val="FFFFFF"/>
                  </a:solidFill>
                  <a:effectLst/>
                  <a:uLnTx/>
                  <a:uFillTx/>
                  <a:latin typeface="Ubuntu Medium"/>
                  <a:ea typeface="+mn-ea"/>
                  <a:cs typeface="+mn-cs"/>
                </a:rPr>
                <a:t>Tuning</a:t>
              </a:r>
            </a:p>
          </p:txBody>
        </p:sp>
        <p:sp>
          <p:nvSpPr>
            <p:cNvPr id="24" name="Oval 23">
              <a:extLst>
                <a:ext uri="{FF2B5EF4-FFF2-40B4-BE49-F238E27FC236}">
                  <a16:creationId xmlns:a16="http://schemas.microsoft.com/office/drawing/2014/main" id="{28EBF0EA-A7E2-0EA6-1F26-6B0DBDC959F7}"/>
                </a:ext>
              </a:extLst>
            </p:cNvPr>
            <p:cNvSpPr/>
            <p:nvPr/>
          </p:nvSpPr>
          <p:spPr>
            <a:xfrm>
              <a:off x="3614293" y="3092692"/>
              <a:ext cx="501130" cy="509856"/>
            </a:xfrm>
            <a:prstGeom prst="ellipse">
              <a:avLst/>
            </a:prstGeom>
            <a:solidFill>
              <a:srgbClr val="12ABDB"/>
            </a:solidFill>
            <a:ln w="12700" cap="flat" cmpd="sng" algn="ctr">
              <a:noFill/>
              <a:prstDash val="solid"/>
              <a:miter lim="800000"/>
            </a:ln>
            <a:effectLst/>
          </p:spPr>
          <p:txBody>
            <a:bodyPr lIns="91428" tIns="45715" rIns="91428" bIns="4571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Ubuntu Medium"/>
                <a:ea typeface="+mn-ea"/>
                <a:cs typeface="+mn-cs"/>
              </a:endParaRPr>
            </a:p>
          </p:txBody>
        </p:sp>
        <p:sp>
          <p:nvSpPr>
            <p:cNvPr id="25" name="Oval 24">
              <a:extLst>
                <a:ext uri="{FF2B5EF4-FFF2-40B4-BE49-F238E27FC236}">
                  <a16:creationId xmlns:a16="http://schemas.microsoft.com/office/drawing/2014/main" id="{98F5539D-36A7-92AC-ECB1-3A148BFA3307}"/>
                </a:ext>
              </a:extLst>
            </p:cNvPr>
            <p:cNvSpPr/>
            <p:nvPr/>
          </p:nvSpPr>
          <p:spPr>
            <a:xfrm>
              <a:off x="4115483" y="3091300"/>
              <a:ext cx="516628" cy="509856"/>
            </a:xfrm>
            <a:prstGeom prst="ellipse">
              <a:avLst/>
            </a:prstGeom>
            <a:solidFill>
              <a:srgbClr val="000000"/>
            </a:solidFill>
            <a:ln w="12700" cap="flat" cmpd="sng" algn="ctr">
              <a:noFill/>
              <a:prstDash val="solid"/>
              <a:miter lim="800000"/>
            </a:ln>
            <a:effectLst/>
          </p:spPr>
          <p:txBody>
            <a:bodyPr lIns="95784" tIns="47892" rIns="95784" bIns="478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Ubuntu Medium"/>
                <a:ea typeface="+mn-ea"/>
                <a:cs typeface="+mn-cs"/>
              </a:endParaRPr>
            </a:p>
          </p:txBody>
        </p:sp>
        <p:sp>
          <p:nvSpPr>
            <p:cNvPr id="26" name="Rectangle 25">
              <a:extLst>
                <a:ext uri="{FF2B5EF4-FFF2-40B4-BE49-F238E27FC236}">
                  <a16:creationId xmlns:a16="http://schemas.microsoft.com/office/drawing/2014/main" id="{D6BA970D-000F-70FD-2292-81AB07ABEA05}"/>
                </a:ext>
              </a:extLst>
            </p:cNvPr>
            <p:cNvSpPr/>
            <p:nvPr/>
          </p:nvSpPr>
          <p:spPr>
            <a:xfrm>
              <a:off x="4878048" y="1966496"/>
              <a:ext cx="1020412" cy="1418825"/>
            </a:xfrm>
            <a:prstGeom prst="rect">
              <a:avLst/>
            </a:prstGeom>
            <a:solidFill>
              <a:srgbClr val="12ABDB"/>
            </a:solidFill>
            <a:ln w="12700" cap="flat" cmpd="sng" algn="ctr">
              <a:noFill/>
              <a:prstDash val="solid"/>
              <a:miter lim="800000"/>
            </a:ln>
            <a:effectLst/>
          </p:spPr>
          <p:txBody>
            <a:bodyPr lIns="91428" tIns="45715" rIns="91428" bIns="4571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Ubuntu Medium"/>
                  <a:ea typeface="+mn-ea"/>
                  <a:cs typeface="+mn-cs"/>
                </a:rPr>
                <a:t>Deploy</a:t>
              </a:r>
            </a:p>
          </p:txBody>
        </p:sp>
        <p:sp>
          <p:nvSpPr>
            <p:cNvPr id="27" name="Rectangle 26">
              <a:extLst>
                <a:ext uri="{FF2B5EF4-FFF2-40B4-BE49-F238E27FC236}">
                  <a16:creationId xmlns:a16="http://schemas.microsoft.com/office/drawing/2014/main" id="{9B8DA744-7E34-0838-F52F-0AB35E3F4B96}"/>
                </a:ext>
              </a:extLst>
            </p:cNvPr>
            <p:cNvSpPr/>
            <p:nvPr/>
          </p:nvSpPr>
          <p:spPr>
            <a:xfrm>
              <a:off x="4879380" y="3338610"/>
              <a:ext cx="1020412" cy="1418825"/>
            </a:xfrm>
            <a:prstGeom prst="rect">
              <a:avLst/>
            </a:prstGeom>
            <a:solidFill>
              <a:srgbClr val="000000"/>
            </a:solidFill>
            <a:ln w="12700" cap="flat" cmpd="sng" algn="ctr">
              <a:noFill/>
              <a:prstDash val="solid"/>
              <a:miter lim="800000"/>
            </a:ln>
            <a:effectLst/>
          </p:spPr>
          <p:txBody>
            <a:bodyPr lIns="0" tIns="47892" rIns="0" bIns="478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Ubuntu Medium"/>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Ubuntu Medium"/>
                  <a:ea typeface="+mn-ea"/>
                  <a:cs typeface="+mn-cs"/>
                </a:rPr>
                <a:t>Performance Monitoring, Health Chec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Ubuntu Medium"/>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Ubuntu Medium"/>
                  <a:ea typeface="+mn-ea"/>
                  <a:cs typeface="+mn-cs"/>
                </a:rPr>
                <a:t>Capacity Planning</a:t>
              </a:r>
            </a:p>
          </p:txBody>
        </p:sp>
        <p:sp>
          <p:nvSpPr>
            <p:cNvPr id="28" name="Oval 27">
              <a:extLst>
                <a:ext uri="{FF2B5EF4-FFF2-40B4-BE49-F238E27FC236}">
                  <a16:creationId xmlns:a16="http://schemas.microsoft.com/office/drawing/2014/main" id="{A24016B0-3A5E-647B-8EDD-4A2958ABFC32}"/>
                </a:ext>
              </a:extLst>
            </p:cNvPr>
            <p:cNvSpPr/>
            <p:nvPr/>
          </p:nvSpPr>
          <p:spPr>
            <a:xfrm>
              <a:off x="4878480" y="3094134"/>
              <a:ext cx="501130" cy="509856"/>
            </a:xfrm>
            <a:prstGeom prst="ellipse">
              <a:avLst/>
            </a:prstGeom>
            <a:solidFill>
              <a:srgbClr val="12ABDB"/>
            </a:solidFill>
            <a:ln w="12700" cap="flat" cmpd="sng" algn="ctr">
              <a:noFill/>
              <a:prstDash val="solid"/>
              <a:miter lim="800000"/>
            </a:ln>
            <a:effectLst/>
          </p:spPr>
          <p:txBody>
            <a:bodyPr lIns="91428" tIns="45715" rIns="91428" bIns="4571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Ubuntu Medium"/>
                <a:ea typeface="+mn-ea"/>
                <a:cs typeface="+mn-cs"/>
              </a:endParaRPr>
            </a:p>
          </p:txBody>
        </p:sp>
        <p:sp>
          <p:nvSpPr>
            <p:cNvPr id="29" name="Oval 28">
              <a:extLst>
                <a:ext uri="{FF2B5EF4-FFF2-40B4-BE49-F238E27FC236}">
                  <a16:creationId xmlns:a16="http://schemas.microsoft.com/office/drawing/2014/main" id="{CD7202D4-F63B-FFE5-E2F2-971ED77B1C92}"/>
                </a:ext>
              </a:extLst>
            </p:cNvPr>
            <p:cNvSpPr/>
            <p:nvPr/>
          </p:nvSpPr>
          <p:spPr>
            <a:xfrm>
              <a:off x="5379670" y="3092743"/>
              <a:ext cx="516628" cy="509856"/>
            </a:xfrm>
            <a:prstGeom prst="ellipse">
              <a:avLst/>
            </a:prstGeom>
            <a:solidFill>
              <a:srgbClr val="000000"/>
            </a:solidFill>
            <a:ln w="12700" cap="flat" cmpd="sng" algn="ctr">
              <a:noFill/>
              <a:prstDash val="solid"/>
              <a:miter lim="800000"/>
            </a:ln>
            <a:effectLst/>
          </p:spPr>
          <p:txBody>
            <a:bodyPr lIns="95784" tIns="47892" rIns="95784" bIns="478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Ubuntu Medium"/>
                <a:ea typeface="+mn-ea"/>
                <a:cs typeface="+mn-cs"/>
              </a:endParaRPr>
            </a:p>
          </p:txBody>
        </p:sp>
        <p:sp>
          <p:nvSpPr>
            <p:cNvPr id="30" name="Pentagon 24">
              <a:extLst>
                <a:ext uri="{FF2B5EF4-FFF2-40B4-BE49-F238E27FC236}">
                  <a16:creationId xmlns:a16="http://schemas.microsoft.com/office/drawing/2014/main" id="{C965C644-61F8-5D8A-8914-AD5B6A91AEC9}"/>
                </a:ext>
              </a:extLst>
            </p:cNvPr>
            <p:cNvSpPr/>
            <p:nvPr/>
          </p:nvSpPr>
          <p:spPr>
            <a:xfrm>
              <a:off x="3615313" y="4802707"/>
              <a:ext cx="1141633" cy="605499"/>
            </a:xfrm>
            <a:prstGeom prst="homePlate">
              <a:avLst>
                <a:gd name="adj" fmla="val 22047"/>
              </a:avLst>
            </a:prstGeom>
            <a:solidFill>
              <a:srgbClr val="000000"/>
            </a:solidFill>
            <a:ln w="12700" cap="flat" cmpd="sng" algn="ctr">
              <a:noFill/>
              <a:prstDash val="solid"/>
              <a:miter lim="800000"/>
            </a:ln>
            <a:effectLst/>
          </p:spPr>
          <p:txBody>
            <a:bodyPr lIns="95784" tIns="47892" rIns="95784" bIns="478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Ubuntu Medium"/>
                  <a:ea typeface="+mn-ea"/>
                  <a:cs typeface="+mn-cs"/>
                </a:rPr>
                <a:t>Measure, Validate &amp; Tune Performance</a:t>
              </a:r>
            </a:p>
          </p:txBody>
        </p:sp>
        <p:sp>
          <p:nvSpPr>
            <p:cNvPr id="31" name="Pentagon 25">
              <a:extLst>
                <a:ext uri="{FF2B5EF4-FFF2-40B4-BE49-F238E27FC236}">
                  <a16:creationId xmlns:a16="http://schemas.microsoft.com/office/drawing/2014/main" id="{30CC515E-6392-39C3-70C4-AF1774529798}"/>
                </a:ext>
              </a:extLst>
            </p:cNvPr>
            <p:cNvSpPr/>
            <p:nvPr/>
          </p:nvSpPr>
          <p:spPr>
            <a:xfrm>
              <a:off x="4879867" y="4804556"/>
              <a:ext cx="1141633" cy="605499"/>
            </a:xfrm>
            <a:prstGeom prst="homePlate">
              <a:avLst>
                <a:gd name="adj" fmla="val 22047"/>
              </a:avLst>
            </a:prstGeom>
            <a:solidFill>
              <a:srgbClr val="000000"/>
            </a:solidFill>
            <a:ln w="12700" cap="flat" cmpd="sng" algn="ctr">
              <a:noFill/>
              <a:prstDash val="solid"/>
              <a:miter lim="800000"/>
            </a:ln>
            <a:effectLst/>
          </p:spPr>
          <p:txBody>
            <a:bodyPr lIns="95784" tIns="47892" rIns="95784" bIns="478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Ubuntu Medium"/>
                  <a:ea typeface="+mn-ea"/>
                  <a:cs typeface="+mn-cs"/>
                </a:rPr>
                <a:t>Manage &amp; Sustain Performance</a:t>
              </a:r>
            </a:p>
          </p:txBody>
        </p:sp>
        <p:sp>
          <p:nvSpPr>
            <p:cNvPr id="32" name="Right Arrow 34">
              <a:extLst>
                <a:ext uri="{FF2B5EF4-FFF2-40B4-BE49-F238E27FC236}">
                  <a16:creationId xmlns:a16="http://schemas.microsoft.com/office/drawing/2014/main" id="{305F9BB9-5F14-0775-5E65-F199D29AF01E}"/>
                </a:ext>
              </a:extLst>
            </p:cNvPr>
            <p:cNvSpPr/>
            <p:nvPr/>
          </p:nvSpPr>
          <p:spPr>
            <a:xfrm>
              <a:off x="4679991" y="3202223"/>
              <a:ext cx="176242" cy="434870"/>
            </a:xfrm>
            <a:prstGeom prst="rightArrow">
              <a:avLst/>
            </a:prstGeom>
            <a:solidFill>
              <a:srgbClr val="FFFFFF">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00000">
                    <a:lumMod val="50000"/>
                  </a:srgbClr>
                </a:solidFill>
                <a:effectLst/>
                <a:uLnTx/>
                <a:uFillTx/>
                <a:latin typeface="Ubuntu Medium"/>
                <a:ea typeface="+mn-ea"/>
                <a:cs typeface="+mn-cs"/>
              </a:endParaRPr>
            </a:p>
          </p:txBody>
        </p:sp>
        <p:sp>
          <p:nvSpPr>
            <p:cNvPr id="33" name="Rectangle 32">
              <a:extLst>
                <a:ext uri="{FF2B5EF4-FFF2-40B4-BE49-F238E27FC236}">
                  <a16:creationId xmlns:a16="http://schemas.microsoft.com/office/drawing/2014/main" id="{47566611-5A09-2DDD-95FD-8C0BC91FD6AB}"/>
                </a:ext>
              </a:extLst>
            </p:cNvPr>
            <p:cNvSpPr/>
            <p:nvPr/>
          </p:nvSpPr>
          <p:spPr>
            <a:xfrm>
              <a:off x="191062" y="1518106"/>
              <a:ext cx="5705238" cy="405872"/>
            </a:xfrm>
            <a:prstGeom prst="rect">
              <a:avLst/>
            </a:prstGeom>
            <a:solidFill>
              <a:srgbClr val="2B0A3D"/>
            </a:solidFill>
            <a:ln w="12700" cap="flat" cmpd="sng" algn="ctr">
              <a:noFill/>
              <a:prstDash val="solid"/>
              <a:miter lim="800000"/>
            </a:ln>
            <a:effectLst/>
          </p:spPr>
          <p:txBody>
            <a:bodyPr lIns="91428" tIns="45715" rIns="91428" bIns="4571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Ubuntu Medium"/>
                  <a:ea typeface="+mn-ea"/>
                  <a:cs typeface="+mn-cs"/>
                </a:rPr>
                <a:t>Project Lifecycle</a:t>
              </a:r>
            </a:p>
          </p:txBody>
        </p:sp>
      </p:grpSp>
      <p:pic>
        <p:nvPicPr>
          <p:cNvPr id="34" name="Picture 33" descr="Diagram&#10;&#10;Description automatically generated">
            <a:extLst>
              <a:ext uri="{FF2B5EF4-FFF2-40B4-BE49-F238E27FC236}">
                <a16:creationId xmlns:a16="http://schemas.microsoft.com/office/drawing/2014/main" id="{7B615283-7127-4F78-03DF-149E39F3C15E}"/>
              </a:ext>
            </a:extLst>
          </p:cNvPr>
          <p:cNvPicPr>
            <a:picLocks noChangeAspect="1"/>
          </p:cNvPicPr>
          <p:nvPr/>
        </p:nvPicPr>
        <p:blipFill>
          <a:blip r:embed="rId2"/>
          <a:stretch>
            <a:fillRect/>
          </a:stretch>
        </p:blipFill>
        <p:spPr>
          <a:xfrm>
            <a:off x="273970" y="3934966"/>
            <a:ext cx="4124862" cy="2568370"/>
          </a:xfrm>
          <a:prstGeom prst="rect">
            <a:avLst/>
          </a:prstGeom>
        </p:spPr>
      </p:pic>
      <p:sp>
        <p:nvSpPr>
          <p:cNvPr id="35" name="TextBox 34">
            <a:extLst>
              <a:ext uri="{FF2B5EF4-FFF2-40B4-BE49-F238E27FC236}">
                <a16:creationId xmlns:a16="http://schemas.microsoft.com/office/drawing/2014/main" id="{F3E9601C-E74D-DB9B-9FA6-E8000C1AC6DD}"/>
              </a:ext>
            </a:extLst>
          </p:cNvPr>
          <p:cNvSpPr txBox="1"/>
          <p:nvPr/>
        </p:nvSpPr>
        <p:spPr>
          <a:xfrm>
            <a:off x="4675265" y="4282591"/>
            <a:ext cx="3136610" cy="2220745"/>
          </a:xfrm>
          <a:prstGeom prst="rect">
            <a:avLst/>
          </a:prstGeom>
          <a:noFill/>
          <a:ln>
            <a:noFill/>
          </a:ln>
        </p:spPr>
        <p:txBody>
          <a:bodyPr wrap="square" lIns="91044" tIns="45526" rIns="91044" bIns="45526" rtlCol="0">
            <a:noAutofit/>
          </a:bodyPr>
          <a:lstStyle/>
          <a:p>
            <a:pPr marL="0" marR="0" lvl="0" indent="0" algn="l" defTabSz="910444" rtl="0" eaLnBrk="1" fontAlgn="auto" latinLnBrk="0" hangingPunct="1">
              <a:lnSpc>
                <a:spcPct val="100000"/>
              </a:lnSpc>
              <a:spcBef>
                <a:spcPts val="200"/>
              </a:spcBef>
              <a:spcAft>
                <a:spcPts val="0"/>
              </a:spcAft>
              <a:buClr>
                <a:srgbClr val="0070AD"/>
              </a:buClr>
              <a:buSzTx/>
              <a:buFontTx/>
              <a:buNone/>
              <a:tabLst/>
              <a:defRPr/>
            </a:pPr>
            <a:r>
              <a:rPr kumimoji="0" lang="en-US" sz="1200" b="1" i="0" u="none" strike="noStrike" kern="0" cap="none" spc="0" normalizeH="0" baseline="0" noProof="0" dirty="0">
                <a:ln>
                  <a:noFill/>
                </a:ln>
                <a:solidFill>
                  <a:prstClr val="black"/>
                </a:solidFill>
                <a:effectLst/>
                <a:uLnTx/>
                <a:uFillTx/>
                <a:latin typeface="Ubuntu Medium"/>
                <a:ea typeface="Arial Unicode MS" panose="020B0604020202020204" pitchFamily="34" charset="-128"/>
                <a:cs typeface="Arial Unicode MS" panose="020B0604020202020204" pitchFamily="34" charset="-128"/>
              </a:rPr>
              <a:t>Review</a:t>
            </a:r>
          </a:p>
          <a:p>
            <a:pPr marL="170708" marR="0" lvl="0" indent="-170708" algn="l" defTabSz="910444" rtl="0" eaLnBrk="1" fontAlgn="auto" latinLnBrk="0" hangingPunct="1">
              <a:lnSpc>
                <a:spcPct val="100000"/>
              </a:lnSpc>
              <a:spcBef>
                <a:spcPts val="200"/>
              </a:spcBef>
              <a:spcAft>
                <a:spcPts val="300"/>
              </a:spcAft>
              <a:buClr>
                <a:srgbClr val="000000"/>
              </a:buClr>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Ubuntu Medium"/>
                <a:ea typeface="Arial Unicode MS" panose="020B0604020202020204" pitchFamily="34" charset="-128"/>
                <a:cs typeface="Arial Unicode MS" panose="020B0604020202020204" pitchFamily="34" charset="-128"/>
              </a:rPr>
              <a:t>Hardware Capacity Planning</a:t>
            </a:r>
          </a:p>
          <a:p>
            <a:pPr marL="170708" marR="0" lvl="0" indent="-170708" algn="l" defTabSz="910444" rtl="0" eaLnBrk="1" fontAlgn="auto" latinLnBrk="0" hangingPunct="1">
              <a:lnSpc>
                <a:spcPct val="100000"/>
              </a:lnSpc>
              <a:spcBef>
                <a:spcPts val="200"/>
              </a:spcBef>
              <a:spcAft>
                <a:spcPts val="300"/>
              </a:spcAft>
              <a:buClr>
                <a:srgbClr val="000000"/>
              </a:buClr>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Ubuntu Medium"/>
                <a:ea typeface="Arial Unicode MS" panose="020B0604020202020204" pitchFamily="34" charset="-128"/>
                <a:cs typeface="Arial Unicode MS" panose="020B0604020202020204" pitchFamily="34" charset="-128"/>
              </a:rPr>
              <a:t>Future Workload Characteristics</a:t>
            </a:r>
          </a:p>
          <a:p>
            <a:pPr marL="170708" marR="0" lvl="0" indent="-170708" algn="l" defTabSz="910444" rtl="0" eaLnBrk="1" fontAlgn="auto" latinLnBrk="0" hangingPunct="1">
              <a:lnSpc>
                <a:spcPct val="100000"/>
              </a:lnSpc>
              <a:spcBef>
                <a:spcPts val="200"/>
              </a:spcBef>
              <a:spcAft>
                <a:spcPts val="300"/>
              </a:spcAft>
              <a:buClr>
                <a:srgbClr val="000000"/>
              </a:buClr>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Ubuntu Medium"/>
                <a:ea typeface="Arial Unicode MS" panose="020B0604020202020204" pitchFamily="34" charset="-128"/>
                <a:cs typeface="Arial Unicode MS" panose="020B0604020202020204" pitchFamily="34" charset="-128"/>
              </a:rPr>
              <a:t>Application Logs</a:t>
            </a:r>
          </a:p>
          <a:p>
            <a:pPr marL="170708" marR="0" lvl="0" indent="-170708" algn="l" defTabSz="910444" rtl="0" eaLnBrk="1" fontAlgn="auto" latinLnBrk="0" hangingPunct="1">
              <a:lnSpc>
                <a:spcPct val="100000"/>
              </a:lnSpc>
              <a:spcBef>
                <a:spcPts val="200"/>
              </a:spcBef>
              <a:spcAft>
                <a:spcPts val="300"/>
              </a:spcAft>
              <a:buClr>
                <a:srgbClr val="000000"/>
              </a:buClr>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Ubuntu Medium"/>
                <a:ea typeface="Arial Unicode MS" panose="020B0604020202020204" pitchFamily="34" charset="-128"/>
                <a:cs typeface="Arial Unicode MS" panose="020B0604020202020204" pitchFamily="34" charset="-128"/>
              </a:rPr>
              <a:t>System configurations</a:t>
            </a:r>
          </a:p>
          <a:p>
            <a:pPr marL="170708" marR="0" lvl="0" indent="-170708" algn="l" defTabSz="910444" rtl="0" eaLnBrk="1" fontAlgn="auto" latinLnBrk="0" hangingPunct="1">
              <a:lnSpc>
                <a:spcPct val="100000"/>
              </a:lnSpc>
              <a:spcBef>
                <a:spcPts val="200"/>
              </a:spcBef>
              <a:spcAft>
                <a:spcPts val="300"/>
              </a:spcAft>
              <a:buClr>
                <a:srgbClr val="000000"/>
              </a:buClr>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Ubuntu Medium"/>
                <a:ea typeface="Arial Unicode MS" panose="020B0604020202020204" pitchFamily="34" charset="-128"/>
                <a:cs typeface="Arial Unicode MS" panose="020B0604020202020204" pitchFamily="34" charset="-128"/>
              </a:rPr>
              <a:t>Analysis of Performance Test Reports</a:t>
            </a:r>
          </a:p>
          <a:p>
            <a:pPr marL="170708" marR="0" lvl="0" indent="-170708" algn="l" defTabSz="910444" rtl="0" eaLnBrk="1" fontAlgn="auto" latinLnBrk="0" hangingPunct="1">
              <a:lnSpc>
                <a:spcPct val="100000"/>
              </a:lnSpc>
              <a:spcBef>
                <a:spcPts val="200"/>
              </a:spcBef>
              <a:spcAft>
                <a:spcPts val="300"/>
              </a:spcAft>
              <a:buClr>
                <a:srgbClr val="000000"/>
              </a:buClr>
              <a:buSzTx/>
              <a:buFont typeface="Wingdings" panose="05000000000000000000" pitchFamily="2" charset="2"/>
              <a:buChar char="§"/>
              <a:tabLst/>
              <a:defRPr/>
            </a:pPr>
            <a:r>
              <a:rPr kumimoji="0" lang="en-US" sz="1100" b="0" i="0" u="none" strike="noStrike" kern="1200" cap="none" spc="0" normalizeH="0" baseline="0" noProof="0" dirty="0">
                <a:ln>
                  <a:noFill/>
                </a:ln>
                <a:solidFill>
                  <a:prstClr val="black"/>
                </a:solidFill>
                <a:effectLst/>
                <a:uLnTx/>
                <a:uFillTx/>
                <a:latin typeface="Ubuntu Medium"/>
                <a:ea typeface="Verdana" panose="020B0604030504040204" pitchFamily="34" charset="0"/>
                <a:cs typeface="Verdana" panose="020B0604030504040204" pitchFamily="34" charset="0"/>
              </a:rPr>
              <a:t>Server resources statistics such as server response times, CPU, Memory, I/O, max concurrent users, transaction failures etc.</a:t>
            </a:r>
            <a:endParaRPr kumimoji="0" lang="en-US" sz="1100" b="0" i="0" u="none" strike="noStrike" kern="0" cap="none" spc="0" normalizeH="0" baseline="0" noProof="0" dirty="0">
              <a:ln>
                <a:noFill/>
              </a:ln>
              <a:solidFill>
                <a:prstClr val="black"/>
              </a:solidFill>
              <a:effectLst/>
              <a:uLnTx/>
              <a:uFillTx/>
              <a:latin typeface="Ubuntu Medium"/>
              <a:ea typeface="Arial Unicode MS" panose="020B0604020202020204" pitchFamily="34" charset="-128"/>
              <a:cs typeface="Arial Unicode MS" panose="020B0604020202020204" pitchFamily="34" charset="-128"/>
            </a:endParaRPr>
          </a:p>
        </p:txBody>
      </p:sp>
      <p:sp>
        <p:nvSpPr>
          <p:cNvPr id="36" name="Rectangle 35">
            <a:extLst>
              <a:ext uri="{FF2B5EF4-FFF2-40B4-BE49-F238E27FC236}">
                <a16:creationId xmlns:a16="http://schemas.microsoft.com/office/drawing/2014/main" id="{675B4A72-9500-139D-AD12-07EF2E48CCFB}"/>
              </a:ext>
            </a:extLst>
          </p:cNvPr>
          <p:cNvSpPr/>
          <p:nvPr/>
        </p:nvSpPr>
        <p:spPr>
          <a:xfrm>
            <a:off x="8088309" y="1073584"/>
            <a:ext cx="3881849" cy="637835"/>
          </a:xfrm>
          <a:prstGeom prst="rect">
            <a:avLst/>
          </a:prstGeom>
          <a:solidFill>
            <a:srgbClr val="000000"/>
          </a:solidFill>
          <a:ln w="12700" cap="flat" cmpd="sng" algn="ctr">
            <a:solidFill>
              <a:srgbClr val="0070AD">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Ubuntu Medium"/>
                <a:ea typeface="+mn-ea"/>
                <a:cs typeface="+mn-cs"/>
              </a:rPr>
              <a:t>Performance Testing and Engineering Approach</a:t>
            </a:r>
          </a:p>
        </p:txBody>
      </p:sp>
      <p:sp>
        <p:nvSpPr>
          <p:cNvPr id="2" name="Title 1">
            <a:extLst>
              <a:ext uri="{FF2B5EF4-FFF2-40B4-BE49-F238E27FC236}">
                <a16:creationId xmlns:a16="http://schemas.microsoft.com/office/drawing/2014/main" id="{0CCAB108-FDAB-0152-80BE-0191204C198C}"/>
              </a:ext>
            </a:extLst>
          </p:cNvPr>
          <p:cNvSpPr txBox="1">
            <a:spLocks/>
          </p:cNvSpPr>
          <p:nvPr/>
        </p:nvSpPr>
        <p:spPr>
          <a:xfrm>
            <a:off x="303251" y="275291"/>
            <a:ext cx="11009685" cy="387798"/>
          </a:xfrm>
          <a:prstGeom prst="rect">
            <a:avLst/>
          </a:prstGeom>
        </p:spPr>
        <p:txBody>
          <a:bodyPr vert="horz" lIns="0" tIns="0" rIns="0" bIns="0" rtlCol="0" anchor="ctr"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1" i="0" u="none" strike="noStrike" kern="1200" cap="none" spc="0" normalizeH="0" baseline="0" noProof="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1" i="0" u="none" strike="noStrike" kern="1200" cap="all" spc="0" normalizeH="0" baseline="0" noProof="0">
                <a:ln>
                  <a:noFill/>
                </a:ln>
                <a:solidFill>
                  <a:srgbClr val="0070AD"/>
                </a:solidFill>
                <a:effectLst/>
                <a:uLnTx/>
                <a:uFillTx/>
                <a:latin typeface="Ubuntu"/>
                <a:ea typeface="Verdana" panose="020B0604030504040204" pitchFamily="34" charset="0"/>
                <a:cs typeface="+mj-cs"/>
              </a:rPr>
              <a:t>Performance Testing approach</a:t>
            </a:r>
          </a:p>
        </p:txBody>
      </p:sp>
    </p:spTree>
    <p:extLst>
      <p:ext uri="{BB962C8B-B14F-4D97-AF65-F5344CB8AC3E}">
        <p14:creationId xmlns:p14="http://schemas.microsoft.com/office/powerpoint/2010/main" val="7199231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person, computer, indoor, computer&#10;&#10;Description automatically generated">
            <a:extLst>
              <a:ext uri="{FF2B5EF4-FFF2-40B4-BE49-F238E27FC236}">
                <a16:creationId xmlns:a16="http://schemas.microsoft.com/office/drawing/2014/main" id="{5AE71D8B-8087-8641-A34F-5CB98CB8218C}"/>
              </a:ext>
            </a:extLst>
          </p:cNvPr>
          <p:cNvPicPr>
            <a:picLocks noChangeAspect="1"/>
          </p:cNvPicPr>
          <p:nvPr/>
        </p:nvPicPr>
        <p:blipFill rotWithShape="1">
          <a:blip r:embed="rId2">
            <a:extLst>
              <a:ext uri="{28A0092B-C50C-407E-A947-70E740481C1C}">
                <a14:useLocalDpi xmlns:a14="http://schemas.microsoft.com/office/drawing/2010/main" val="0"/>
              </a:ext>
            </a:extLst>
          </a:blip>
          <a:srcRect b="15625"/>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AABE8376-C6BF-2844-AA0F-D4AB73054AB2}"/>
              </a:ext>
            </a:extLst>
          </p:cNvPr>
          <p:cNvSpPr/>
          <p:nvPr/>
        </p:nvSpPr>
        <p:spPr bwMode="white">
          <a:xfrm>
            <a:off x="983432" y="0"/>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Ubuntu Medium"/>
              <a:ea typeface="+mn-ea"/>
              <a:cs typeface="+mn-cs"/>
            </a:endParaRPr>
          </a:p>
        </p:txBody>
      </p:sp>
      <p:pic>
        <p:nvPicPr>
          <p:cNvPr id="8" name="Picture 7">
            <a:extLst>
              <a:ext uri="{FF2B5EF4-FFF2-40B4-BE49-F238E27FC236}">
                <a16:creationId xmlns:a16="http://schemas.microsoft.com/office/drawing/2014/main" id="{1950B1DF-3587-8B48-8CF2-C0142B5A8B6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94369" y="148480"/>
            <a:ext cx="573846" cy="2946314"/>
          </a:xfrm>
          <a:prstGeom prst="rect">
            <a:avLst/>
          </a:prstGeom>
        </p:spPr>
      </p:pic>
      <p:pic>
        <p:nvPicPr>
          <p:cNvPr id="9" name="Picture 8" descr="A picture containing shape&#10;&#10;Description automatically generated">
            <a:extLst>
              <a:ext uri="{FF2B5EF4-FFF2-40B4-BE49-F238E27FC236}">
                <a16:creationId xmlns:a16="http://schemas.microsoft.com/office/drawing/2014/main" id="{23C987CC-7AD1-FC4A-9877-8D48A6D9CCB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68215" y="1292017"/>
            <a:ext cx="1550027" cy="1808365"/>
          </a:xfrm>
          <a:prstGeom prst="rect">
            <a:avLst/>
          </a:prstGeom>
        </p:spPr>
      </p:pic>
      <p:pic>
        <p:nvPicPr>
          <p:cNvPr id="10" name="Picture 9" descr="A picture containing venn diagram&#10;&#10;Description automatically generated">
            <a:extLst>
              <a:ext uri="{FF2B5EF4-FFF2-40B4-BE49-F238E27FC236}">
                <a16:creationId xmlns:a16="http://schemas.microsoft.com/office/drawing/2014/main" id="{E9E15955-7792-1042-965B-8A86C5307F9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118983" y="1290077"/>
            <a:ext cx="2555267" cy="6008579"/>
          </a:xfrm>
          <a:prstGeom prst="rect">
            <a:avLst/>
          </a:prstGeom>
        </p:spPr>
      </p:pic>
      <p:sp>
        <p:nvSpPr>
          <p:cNvPr id="4" name="Title 3">
            <a:extLst>
              <a:ext uri="{FF2B5EF4-FFF2-40B4-BE49-F238E27FC236}">
                <a16:creationId xmlns:a16="http://schemas.microsoft.com/office/drawing/2014/main" id="{15E659B3-EA4B-405E-9FAE-00661F32418F}"/>
              </a:ext>
            </a:extLst>
          </p:cNvPr>
          <p:cNvSpPr>
            <a:spLocks noGrp="1"/>
          </p:cNvSpPr>
          <p:nvPr>
            <p:ph type="ctrTitle" idx="4294967295"/>
          </p:nvPr>
        </p:nvSpPr>
        <p:spPr>
          <a:xfrm>
            <a:off x="0" y="3287713"/>
            <a:ext cx="3641725" cy="1176337"/>
          </a:xfrm>
          <a:prstGeom prst="rect">
            <a:avLst/>
          </a:prstGeom>
        </p:spPr>
        <p:txBody>
          <a:bodyPr anchor="t"/>
          <a:lstStyle/>
          <a:p>
            <a:pPr algn="ctr"/>
            <a:r>
              <a:rPr lang="en-GB" sz="3200">
                <a:solidFill>
                  <a:schemeClr val="bg1"/>
                </a:solidFill>
                <a:latin typeface="Ubuntu" panose="020B0504030602030204" pitchFamily="34" charset="0"/>
              </a:rPr>
              <a:t>Delivery Approach</a:t>
            </a:r>
          </a:p>
        </p:txBody>
      </p:sp>
      <p:grpSp>
        <p:nvGrpSpPr>
          <p:cNvPr id="15" name="Groupe 1">
            <a:extLst>
              <a:ext uri="{FF2B5EF4-FFF2-40B4-BE49-F238E27FC236}">
                <a16:creationId xmlns:a16="http://schemas.microsoft.com/office/drawing/2014/main" id="{19DDC407-45D5-0540-BB3E-0DDA2E32CB8A}"/>
              </a:ext>
            </a:extLst>
          </p:cNvPr>
          <p:cNvGrpSpPr>
            <a:grpSpLocks noChangeAspect="1"/>
          </p:cNvGrpSpPr>
          <p:nvPr/>
        </p:nvGrpSpPr>
        <p:grpSpPr>
          <a:xfrm>
            <a:off x="11562163" y="205059"/>
            <a:ext cx="419436" cy="388988"/>
            <a:chOff x="11501102" y="171573"/>
            <a:chExt cx="419436" cy="388988"/>
          </a:xfrm>
        </p:grpSpPr>
        <p:sp>
          <p:nvSpPr>
            <p:cNvPr id="16" name="Freeform 13">
              <a:extLst>
                <a:ext uri="{FF2B5EF4-FFF2-40B4-BE49-F238E27FC236}">
                  <a16:creationId xmlns:a16="http://schemas.microsoft.com/office/drawing/2014/main" id="{96EA3C7C-144E-9B49-AFD7-70ABFAC0925C}"/>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17" name="Freeform 14">
              <a:extLst>
                <a:ext uri="{FF2B5EF4-FFF2-40B4-BE49-F238E27FC236}">
                  <a16:creationId xmlns:a16="http://schemas.microsoft.com/office/drawing/2014/main" id="{B3A9C462-2069-D442-9083-8BD83CD821C1}"/>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12" name="Retângulo 43">
            <a:extLst>
              <a:ext uri="{FF2B5EF4-FFF2-40B4-BE49-F238E27FC236}">
                <a16:creationId xmlns:a16="http://schemas.microsoft.com/office/drawing/2014/main" id="{5539996C-DD2A-49D6-AFB0-763FCB2EE440}"/>
              </a:ext>
            </a:extLst>
          </p:cNvPr>
          <p:cNvSpPr/>
          <p:nvPr/>
        </p:nvSpPr>
        <p:spPr>
          <a:xfrm>
            <a:off x="11744128" y="6517658"/>
            <a:ext cx="229263" cy="215444"/>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srgbClr val="A6A6A6"/>
                </a:solidFill>
                <a:effectLst/>
                <a:uLnTx/>
                <a:uFillTx/>
                <a:latin typeface="Ubuntu" panose="020B0504030602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A6A6A6"/>
              </a:solidFill>
              <a:effectLst/>
              <a:uLnTx/>
              <a:uFillTx/>
              <a:latin typeface="Ubuntu" panose="020B0504030602030204" pitchFamily="34" charset="0"/>
              <a:ea typeface="+mn-ea"/>
              <a:cs typeface="Arial" panose="020B0604020202020204" pitchFamily="34" charset="0"/>
            </a:endParaRPr>
          </a:p>
        </p:txBody>
      </p:sp>
      <p:sp>
        <p:nvSpPr>
          <p:cNvPr id="13" name="Rectangle 27">
            <a:extLst>
              <a:ext uri="{FF2B5EF4-FFF2-40B4-BE49-F238E27FC236}">
                <a16:creationId xmlns:a16="http://schemas.microsoft.com/office/drawing/2014/main" id="{01D50803-B26A-4936-A06C-6E086A6DD719}"/>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A6A6A6"/>
                </a:solidFill>
                <a:effectLst/>
                <a:uLnTx/>
                <a:uFillTx/>
                <a:latin typeface="Ubuntu" panose="020B0504030602030204" pitchFamily="34" charset="0"/>
                <a:ea typeface="+mn-ea"/>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74646373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1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63" presetClass="path" presetSubtype="0" decel="100000" fill="hold" grpId="0" nodeType="withEffect">
                                  <p:stCondLst>
                                    <p:cond delay="1250"/>
                                  </p:stCondLst>
                                  <p:childTnLst>
                                    <p:animMotion origin="layout" path="M -0.05937 0 L -8.33333E-7 0 " pathEditMode="relative" rAng="0" ptsTypes="AA">
                                      <p:cBhvr>
                                        <p:cTn id="9" dur="1100" fill="hold"/>
                                        <p:tgtEl>
                                          <p:spTgt spid="6"/>
                                        </p:tgtEl>
                                        <p:attrNameLst>
                                          <p:attrName>ppt_x</p:attrName>
                                          <p:attrName>ppt_y</p:attrName>
                                        </p:attrNameLst>
                                      </p:cBhvr>
                                      <p:rCtr x="2969" y="0"/>
                                    </p:animMotion>
                                  </p:childTnLst>
                                </p:cTn>
                              </p:par>
                              <p:par>
                                <p:cTn id="10" presetID="22" presetClass="entr" presetSubtype="4" fill="hold" nodeType="withEffect">
                                  <p:stCondLst>
                                    <p:cond delay="200"/>
                                  </p:stCondLst>
                                  <p:childTnLst>
                                    <p:set>
                                      <p:cBhvr>
                                        <p:cTn id="11" dur="1" fill="hold">
                                          <p:stCondLst>
                                            <p:cond delay="0"/>
                                          </p:stCondLst>
                                        </p:cTn>
                                        <p:tgtEl>
                                          <p:spTgt spid="10"/>
                                        </p:tgtEl>
                                        <p:attrNameLst>
                                          <p:attrName>style.visibility</p:attrName>
                                        </p:attrNameLst>
                                      </p:cBhvr>
                                      <p:to>
                                        <p:strVal val="visible"/>
                                      </p:to>
                                    </p:set>
                                    <p:animEffect transition="in" filter="wipe(down)">
                                      <p:cBhvr>
                                        <p:cTn id="12" dur="2200"/>
                                        <p:tgtEl>
                                          <p:spTgt spid="10"/>
                                        </p:tgtEl>
                                      </p:cBhvr>
                                    </p:animEffect>
                                  </p:childTnLst>
                                </p:cTn>
                              </p:par>
                              <p:par>
                                <p:cTn id="13" presetID="22" presetClass="entr" presetSubtype="2" fill="hold" nodeType="withEffect">
                                  <p:stCondLst>
                                    <p:cond delay="2100"/>
                                  </p:stCondLst>
                                  <p:childTnLst>
                                    <p:set>
                                      <p:cBhvr>
                                        <p:cTn id="14" dur="1" fill="hold">
                                          <p:stCondLst>
                                            <p:cond delay="0"/>
                                          </p:stCondLst>
                                        </p:cTn>
                                        <p:tgtEl>
                                          <p:spTgt spid="9"/>
                                        </p:tgtEl>
                                        <p:attrNameLst>
                                          <p:attrName>style.visibility</p:attrName>
                                        </p:attrNameLst>
                                      </p:cBhvr>
                                      <p:to>
                                        <p:strVal val="visible"/>
                                      </p:to>
                                    </p:set>
                                    <p:animEffect transition="in" filter="wipe(right)">
                                      <p:cBhvr>
                                        <p:cTn id="15" dur="1250"/>
                                        <p:tgtEl>
                                          <p:spTgt spid="9"/>
                                        </p:tgtEl>
                                      </p:cBhvr>
                                    </p:animEffect>
                                  </p:childTnLst>
                                </p:cTn>
                              </p:par>
                              <p:par>
                                <p:cTn id="16" presetID="22" presetClass="entr" presetSubtype="4" fill="hold" nodeType="withEffect">
                                  <p:stCondLst>
                                    <p:cond delay="3300"/>
                                  </p:stCondLst>
                                  <p:childTnLst>
                                    <p:set>
                                      <p:cBhvr>
                                        <p:cTn id="17" dur="1" fill="hold">
                                          <p:stCondLst>
                                            <p:cond delay="0"/>
                                          </p:stCondLst>
                                        </p:cTn>
                                        <p:tgtEl>
                                          <p:spTgt spid="8"/>
                                        </p:tgtEl>
                                        <p:attrNameLst>
                                          <p:attrName>style.visibility</p:attrName>
                                        </p:attrNameLst>
                                      </p:cBhvr>
                                      <p:to>
                                        <p:strVal val="visible"/>
                                      </p:to>
                                    </p:set>
                                    <p:animEffect transition="in" filter="wipe(down)">
                                      <p:cBhvr>
                                        <p:cTn id="18" dur="1100"/>
                                        <p:tgtEl>
                                          <p:spTgt spid="8"/>
                                        </p:tgtEl>
                                      </p:cBhvr>
                                    </p:animEffect>
                                  </p:childTnLst>
                                </p:cTn>
                              </p:par>
                              <p:par>
                                <p:cTn id="19" presetID="10" presetClass="entr" presetSubtype="0" fill="hold" grpId="0" nodeType="withEffect">
                                  <p:stCondLst>
                                    <p:cond delay="330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1">
            <a:extLst>
              <a:ext uri="{FF2B5EF4-FFF2-40B4-BE49-F238E27FC236}">
                <a16:creationId xmlns:a16="http://schemas.microsoft.com/office/drawing/2014/main" id="{9A51AC4F-9DC4-441C-8F30-1C80B1210623}"/>
              </a:ext>
            </a:extLst>
          </p:cNvPr>
          <p:cNvSpPr txBox="1">
            <a:spLocks/>
          </p:cNvSpPr>
          <p:nvPr/>
        </p:nvSpPr>
        <p:spPr>
          <a:xfrm>
            <a:off x="383302" y="163067"/>
            <a:ext cx="10947772" cy="716711"/>
          </a:xfrm>
          <a:prstGeom prst="rect">
            <a:avLst/>
          </a:prstGeom>
        </p:spPr>
        <p:txBody>
          <a:bodyPr vert="horz" lIns="253554" tIns="28173" rIns="140864" bIns="28173" rtlCol="0" anchor="ctr">
            <a:noAutofit/>
          </a:bodyPr>
          <a:lst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1038910" rtl="0" eaLnBrk="1" fontAlgn="auto" latinLnBrk="0" hangingPunct="1">
              <a:lnSpc>
                <a:spcPct val="85000"/>
              </a:lnSpc>
              <a:spcBef>
                <a:spcPct val="0"/>
              </a:spcBef>
              <a:spcAft>
                <a:spcPts val="0"/>
              </a:spcAft>
              <a:buClrTx/>
              <a:buSzTx/>
              <a:buFontTx/>
              <a:buNone/>
              <a:tabLst/>
              <a:defRPr/>
            </a:pPr>
            <a:r>
              <a:rPr kumimoji="0" lang="en-US" sz="2400" b="0" i="0" u="none" strike="noStrike" kern="1200" cap="all" spc="0" normalizeH="0" baseline="0" noProof="0">
                <a:ln>
                  <a:noFill/>
                </a:ln>
                <a:solidFill>
                  <a:srgbClr val="272936"/>
                </a:solidFill>
                <a:effectLst/>
                <a:uLnTx/>
                <a:uFillTx/>
                <a:latin typeface="Ubuntu Medium"/>
                <a:ea typeface="Verdana" panose="020B0604030504040204" pitchFamily="34" charset="0"/>
                <a:cs typeface="Verdana" panose="020B0604030504040204" pitchFamily="34" charset="0"/>
              </a:rPr>
              <a:t>INDICATIVE STAFFING</a:t>
            </a:r>
          </a:p>
        </p:txBody>
      </p:sp>
      <p:sp>
        <p:nvSpPr>
          <p:cNvPr id="71" name="Rectangle: Rounded Corners 70">
            <a:extLst>
              <a:ext uri="{FF2B5EF4-FFF2-40B4-BE49-F238E27FC236}">
                <a16:creationId xmlns:a16="http://schemas.microsoft.com/office/drawing/2014/main" id="{B1D7DC91-A511-6A4B-1B81-CAE997C06511}"/>
              </a:ext>
            </a:extLst>
          </p:cNvPr>
          <p:cNvSpPr/>
          <p:nvPr/>
        </p:nvSpPr>
        <p:spPr>
          <a:xfrm>
            <a:off x="1487919" y="3634464"/>
            <a:ext cx="1692000" cy="446062"/>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US" sz="1600" b="1">
              <a:latin typeface="+mj-lt"/>
              <a:ea typeface="Verdana"/>
              <a:cs typeface="Verdana"/>
            </a:endParaRPr>
          </a:p>
        </p:txBody>
      </p:sp>
      <p:sp>
        <p:nvSpPr>
          <p:cNvPr id="79" name="Rectangle: Rounded Corners 78">
            <a:extLst>
              <a:ext uri="{FF2B5EF4-FFF2-40B4-BE49-F238E27FC236}">
                <a16:creationId xmlns:a16="http://schemas.microsoft.com/office/drawing/2014/main" id="{579B3F8A-E091-E194-4BE2-BB64B767702B}"/>
              </a:ext>
            </a:extLst>
          </p:cNvPr>
          <p:cNvSpPr/>
          <p:nvPr/>
        </p:nvSpPr>
        <p:spPr>
          <a:xfrm>
            <a:off x="1501131" y="2248116"/>
            <a:ext cx="1721187" cy="369161"/>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84" name="Rectangle: Rounded Corners 83">
            <a:extLst>
              <a:ext uri="{FF2B5EF4-FFF2-40B4-BE49-F238E27FC236}">
                <a16:creationId xmlns:a16="http://schemas.microsoft.com/office/drawing/2014/main" id="{9E5EB42A-2CF6-E181-F24B-CE31156C0AFA}"/>
              </a:ext>
            </a:extLst>
          </p:cNvPr>
          <p:cNvSpPr/>
          <p:nvPr/>
        </p:nvSpPr>
        <p:spPr>
          <a:xfrm>
            <a:off x="1501131" y="2682784"/>
            <a:ext cx="1692000" cy="388386"/>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95" name="Rectangle: Rounded Corners 94">
            <a:extLst>
              <a:ext uri="{FF2B5EF4-FFF2-40B4-BE49-F238E27FC236}">
                <a16:creationId xmlns:a16="http://schemas.microsoft.com/office/drawing/2014/main" id="{06610875-11AE-E01D-E49C-5C14616057A6}"/>
              </a:ext>
            </a:extLst>
          </p:cNvPr>
          <p:cNvSpPr/>
          <p:nvPr/>
        </p:nvSpPr>
        <p:spPr>
          <a:xfrm>
            <a:off x="1502299" y="3136523"/>
            <a:ext cx="1692000" cy="446062"/>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96" name="Rectangle: Rounded Corners 95">
            <a:extLst>
              <a:ext uri="{FF2B5EF4-FFF2-40B4-BE49-F238E27FC236}">
                <a16:creationId xmlns:a16="http://schemas.microsoft.com/office/drawing/2014/main" id="{E38BC071-BCDC-CC64-571B-0A211528AB8C}"/>
              </a:ext>
            </a:extLst>
          </p:cNvPr>
          <p:cNvSpPr/>
          <p:nvPr/>
        </p:nvSpPr>
        <p:spPr>
          <a:xfrm>
            <a:off x="1500463" y="1719543"/>
            <a:ext cx="1706298" cy="446062"/>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97" name="Rectangle 96">
            <a:extLst>
              <a:ext uri="{FF2B5EF4-FFF2-40B4-BE49-F238E27FC236}">
                <a16:creationId xmlns:a16="http://schemas.microsoft.com/office/drawing/2014/main" id="{9D99E090-7A91-DC3C-578B-F8D590AD773F}"/>
              </a:ext>
            </a:extLst>
          </p:cNvPr>
          <p:cNvSpPr/>
          <p:nvPr/>
        </p:nvSpPr>
        <p:spPr>
          <a:xfrm>
            <a:off x="3209966" y="1735437"/>
            <a:ext cx="504000" cy="23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98" name="TextBox 97">
            <a:extLst>
              <a:ext uri="{FF2B5EF4-FFF2-40B4-BE49-F238E27FC236}">
                <a16:creationId xmlns:a16="http://schemas.microsoft.com/office/drawing/2014/main" id="{A83E9E6B-5BBE-7269-0A5E-4A1674B18B7F}"/>
              </a:ext>
            </a:extLst>
          </p:cNvPr>
          <p:cNvSpPr txBox="1"/>
          <p:nvPr/>
        </p:nvSpPr>
        <p:spPr>
          <a:xfrm>
            <a:off x="1598863" y="1762187"/>
            <a:ext cx="1584000" cy="230832"/>
          </a:xfrm>
          <a:prstGeom prst="rect">
            <a:avLst/>
          </a:prstGeom>
          <a:noFill/>
        </p:spPr>
        <p:txBody>
          <a:bodyPr wrap="square" rtlCol="0">
            <a:spAutoFit/>
          </a:bodyPr>
          <a:lstStyle>
            <a:defPPr>
              <a:defRPr lang="de-DE"/>
            </a:defPPr>
            <a:lvl1pPr>
              <a:defRPr sz="900">
                <a:latin typeface="+mj-lt"/>
              </a:defRPr>
            </a:lvl1pPr>
          </a:lstStyle>
          <a:p>
            <a:r>
              <a:rPr lang="en-US"/>
              <a:t>Conversion Leads</a:t>
            </a:r>
          </a:p>
        </p:txBody>
      </p:sp>
      <p:sp>
        <p:nvSpPr>
          <p:cNvPr id="99" name="TextBox 98">
            <a:extLst>
              <a:ext uri="{FF2B5EF4-FFF2-40B4-BE49-F238E27FC236}">
                <a16:creationId xmlns:a16="http://schemas.microsoft.com/office/drawing/2014/main" id="{88B01E5A-19FB-7997-F43A-B0FC419E6DBC}"/>
              </a:ext>
            </a:extLst>
          </p:cNvPr>
          <p:cNvSpPr txBox="1"/>
          <p:nvPr/>
        </p:nvSpPr>
        <p:spPr>
          <a:xfrm>
            <a:off x="1578319" y="2290509"/>
            <a:ext cx="1741731" cy="230832"/>
          </a:xfrm>
          <a:prstGeom prst="rect">
            <a:avLst/>
          </a:prstGeom>
          <a:noFill/>
        </p:spPr>
        <p:txBody>
          <a:bodyPr wrap="square" rtlCol="0">
            <a:spAutoFit/>
          </a:bodyPr>
          <a:lstStyle/>
          <a:p>
            <a:r>
              <a:rPr lang="en-US" sz="900">
                <a:latin typeface="+mj-lt"/>
              </a:rPr>
              <a:t>Functional Leads</a:t>
            </a:r>
          </a:p>
        </p:txBody>
      </p:sp>
      <p:sp>
        <p:nvSpPr>
          <p:cNvPr id="100" name="TextBox 99">
            <a:extLst>
              <a:ext uri="{FF2B5EF4-FFF2-40B4-BE49-F238E27FC236}">
                <a16:creationId xmlns:a16="http://schemas.microsoft.com/office/drawing/2014/main" id="{67E8CF84-2435-6165-90F9-48AB8D4D0FFA}"/>
              </a:ext>
            </a:extLst>
          </p:cNvPr>
          <p:cNvSpPr txBox="1"/>
          <p:nvPr/>
        </p:nvSpPr>
        <p:spPr>
          <a:xfrm>
            <a:off x="1578319" y="2765923"/>
            <a:ext cx="1944823" cy="230832"/>
          </a:xfrm>
          <a:prstGeom prst="rect">
            <a:avLst/>
          </a:prstGeom>
          <a:noFill/>
        </p:spPr>
        <p:txBody>
          <a:bodyPr wrap="square" rtlCol="0">
            <a:spAutoFit/>
          </a:bodyPr>
          <a:lstStyle/>
          <a:p>
            <a:r>
              <a:rPr lang="en-US" sz="900">
                <a:latin typeface="+mj-lt"/>
              </a:rPr>
              <a:t>Data Leads</a:t>
            </a:r>
          </a:p>
        </p:txBody>
      </p:sp>
      <p:sp>
        <p:nvSpPr>
          <p:cNvPr id="102" name="TextBox 101">
            <a:extLst>
              <a:ext uri="{FF2B5EF4-FFF2-40B4-BE49-F238E27FC236}">
                <a16:creationId xmlns:a16="http://schemas.microsoft.com/office/drawing/2014/main" id="{5EE6893E-3050-1B65-85F9-4ABFF7F8BBAE}"/>
              </a:ext>
            </a:extLst>
          </p:cNvPr>
          <p:cNvSpPr txBox="1"/>
          <p:nvPr/>
        </p:nvSpPr>
        <p:spPr>
          <a:xfrm>
            <a:off x="1578319" y="3264125"/>
            <a:ext cx="1865622" cy="230832"/>
          </a:xfrm>
          <a:prstGeom prst="rect">
            <a:avLst/>
          </a:prstGeom>
          <a:noFill/>
        </p:spPr>
        <p:txBody>
          <a:bodyPr wrap="square" rtlCol="0">
            <a:spAutoFit/>
          </a:bodyPr>
          <a:lstStyle/>
          <a:p>
            <a:r>
              <a:rPr lang="en-US" sz="900">
                <a:latin typeface="+mj-lt"/>
              </a:rPr>
              <a:t>DevOps Engineers</a:t>
            </a:r>
          </a:p>
        </p:txBody>
      </p:sp>
      <p:sp>
        <p:nvSpPr>
          <p:cNvPr id="103" name="TextBox 102">
            <a:extLst>
              <a:ext uri="{FF2B5EF4-FFF2-40B4-BE49-F238E27FC236}">
                <a16:creationId xmlns:a16="http://schemas.microsoft.com/office/drawing/2014/main" id="{C948FE22-B57B-C6D8-98B1-3B5F01A96BD6}"/>
              </a:ext>
            </a:extLst>
          </p:cNvPr>
          <p:cNvSpPr txBox="1"/>
          <p:nvPr/>
        </p:nvSpPr>
        <p:spPr>
          <a:xfrm>
            <a:off x="1547558" y="3742840"/>
            <a:ext cx="2057876" cy="230832"/>
          </a:xfrm>
          <a:prstGeom prst="rect">
            <a:avLst/>
          </a:prstGeom>
          <a:noFill/>
        </p:spPr>
        <p:txBody>
          <a:bodyPr wrap="square" lIns="91440" tIns="45720" rIns="91440" bIns="45720" rtlCol="0" anchor="t">
            <a:spAutoFit/>
          </a:bodyPr>
          <a:lstStyle/>
          <a:p>
            <a:r>
              <a:rPr lang="en-US" sz="900">
                <a:latin typeface="+mj-lt"/>
              </a:rPr>
              <a:t>Engagement / Project </a:t>
            </a:r>
            <a:r>
              <a:rPr lang="en-US" sz="900" err="1">
                <a:latin typeface="+mj-lt"/>
              </a:rPr>
              <a:t>Mgr</a:t>
            </a:r>
            <a:endParaRPr lang="en-US" sz="900">
              <a:latin typeface="+mj-lt"/>
            </a:endParaRPr>
          </a:p>
        </p:txBody>
      </p:sp>
      <p:sp>
        <p:nvSpPr>
          <p:cNvPr id="104" name="Callout: Right Arrow 103">
            <a:extLst>
              <a:ext uri="{FF2B5EF4-FFF2-40B4-BE49-F238E27FC236}">
                <a16:creationId xmlns:a16="http://schemas.microsoft.com/office/drawing/2014/main" id="{D2A0EF57-A48F-FB97-39FC-E5A1F34302F4}"/>
              </a:ext>
            </a:extLst>
          </p:cNvPr>
          <p:cNvSpPr/>
          <p:nvPr/>
        </p:nvSpPr>
        <p:spPr>
          <a:xfrm>
            <a:off x="832008" y="2492451"/>
            <a:ext cx="445131" cy="3056636"/>
          </a:xfrm>
          <a:prstGeom prst="rightArrowCallout">
            <a:avLst>
              <a:gd name="adj1" fmla="val 25000"/>
              <a:gd name="adj2" fmla="val 20831"/>
              <a:gd name="adj3" fmla="val 25000"/>
              <a:gd name="adj4" fmla="val 649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solidFill>
                <a:schemeClr val="tx2">
                  <a:lumMod val="50000"/>
                </a:schemeClr>
              </a:solidFill>
            </a:endParaRPr>
          </a:p>
        </p:txBody>
      </p:sp>
      <p:sp>
        <p:nvSpPr>
          <p:cNvPr id="105" name="Callout: Right Arrow 104">
            <a:extLst>
              <a:ext uri="{FF2B5EF4-FFF2-40B4-BE49-F238E27FC236}">
                <a16:creationId xmlns:a16="http://schemas.microsoft.com/office/drawing/2014/main" id="{5CD1E02C-EF38-C451-6834-C3264A6423FA}"/>
              </a:ext>
            </a:extLst>
          </p:cNvPr>
          <p:cNvSpPr/>
          <p:nvPr/>
        </p:nvSpPr>
        <p:spPr>
          <a:xfrm>
            <a:off x="895657" y="1437671"/>
            <a:ext cx="656313" cy="3795641"/>
          </a:xfrm>
          <a:prstGeom prst="rightArrowCallout">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vert="vert270" rtlCol="0" anchor="ctr"/>
          <a:lstStyle/>
          <a:p>
            <a:pPr algn="ctr"/>
            <a:r>
              <a:rPr lang="en-US" sz="1050" b="1">
                <a:solidFill>
                  <a:schemeClr val="bg1"/>
                </a:solidFill>
              </a:rPr>
              <a:t>End to End Agile POD Teams</a:t>
            </a:r>
            <a:endParaRPr lang="en-IN" sz="1050" b="1">
              <a:solidFill>
                <a:schemeClr val="bg1"/>
              </a:solidFill>
            </a:endParaRPr>
          </a:p>
        </p:txBody>
      </p:sp>
      <p:sp>
        <p:nvSpPr>
          <p:cNvPr id="108" name="Rectangle: Rounded Corners 107">
            <a:extLst>
              <a:ext uri="{FF2B5EF4-FFF2-40B4-BE49-F238E27FC236}">
                <a16:creationId xmlns:a16="http://schemas.microsoft.com/office/drawing/2014/main" id="{A96E3A2A-1259-0236-AE54-5E0E09FD8715}"/>
              </a:ext>
            </a:extLst>
          </p:cNvPr>
          <p:cNvSpPr/>
          <p:nvPr/>
        </p:nvSpPr>
        <p:spPr>
          <a:xfrm>
            <a:off x="8867824" y="1752920"/>
            <a:ext cx="1692000" cy="446062"/>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109" name="Rectangle: Rounded Corners 108">
            <a:extLst>
              <a:ext uri="{FF2B5EF4-FFF2-40B4-BE49-F238E27FC236}">
                <a16:creationId xmlns:a16="http://schemas.microsoft.com/office/drawing/2014/main" id="{8A62E3C1-1BB1-D176-04FE-61B91790B9A7}"/>
              </a:ext>
            </a:extLst>
          </p:cNvPr>
          <p:cNvSpPr/>
          <p:nvPr/>
        </p:nvSpPr>
        <p:spPr>
          <a:xfrm>
            <a:off x="8877777" y="2261343"/>
            <a:ext cx="1692000" cy="369161"/>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110" name="Rectangle: Rounded Corners 109">
            <a:extLst>
              <a:ext uri="{FF2B5EF4-FFF2-40B4-BE49-F238E27FC236}">
                <a16:creationId xmlns:a16="http://schemas.microsoft.com/office/drawing/2014/main" id="{D9D1F052-463B-46B6-1E61-DCB28BB91E46}"/>
              </a:ext>
            </a:extLst>
          </p:cNvPr>
          <p:cNvSpPr/>
          <p:nvPr/>
        </p:nvSpPr>
        <p:spPr>
          <a:xfrm>
            <a:off x="8877777" y="2696012"/>
            <a:ext cx="1692000" cy="388386"/>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111" name="Rectangle: Rounded Corners 110">
            <a:extLst>
              <a:ext uri="{FF2B5EF4-FFF2-40B4-BE49-F238E27FC236}">
                <a16:creationId xmlns:a16="http://schemas.microsoft.com/office/drawing/2014/main" id="{496BE47F-9472-E32B-1F11-2616CDD42130}"/>
              </a:ext>
            </a:extLst>
          </p:cNvPr>
          <p:cNvSpPr/>
          <p:nvPr/>
        </p:nvSpPr>
        <p:spPr>
          <a:xfrm>
            <a:off x="8878945" y="3149750"/>
            <a:ext cx="1692000" cy="446062"/>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112" name="Rectangle: Rounded Corners 111">
            <a:extLst>
              <a:ext uri="{FF2B5EF4-FFF2-40B4-BE49-F238E27FC236}">
                <a16:creationId xmlns:a16="http://schemas.microsoft.com/office/drawing/2014/main" id="{9B7E66E3-A5DF-E71E-78BA-E076149E483B}"/>
              </a:ext>
            </a:extLst>
          </p:cNvPr>
          <p:cNvSpPr/>
          <p:nvPr/>
        </p:nvSpPr>
        <p:spPr>
          <a:xfrm>
            <a:off x="8878945" y="4132269"/>
            <a:ext cx="1692000" cy="446062"/>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113" name="Rectangle: Rounded Corners 112">
            <a:extLst>
              <a:ext uri="{FF2B5EF4-FFF2-40B4-BE49-F238E27FC236}">
                <a16:creationId xmlns:a16="http://schemas.microsoft.com/office/drawing/2014/main" id="{B2AFA56F-1612-E77A-346A-1E23CDC1FF08}"/>
              </a:ext>
            </a:extLst>
          </p:cNvPr>
          <p:cNvSpPr/>
          <p:nvPr/>
        </p:nvSpPr>
        <p:spPr>
          <a:xfrm>
            <a:off x="8869666" y="4624534"/>
            <a:ext cx="1692000" cy="446062"/>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114" name="TextBox 113">
            <a:extLst>
              <a:ext uri="{FF2B5EF4-FFF2-40B4-BE49-F238E27FC236}">
                <a16:creationId xmlns:a16="http://schemas.microsoft.com/office/drawing/2014/main" id="{00E34846-38A3-1830-302F-4D0BAA81B348}"/>
              </a:ext>
            </a:extLst>
          </p:cNvPr>
          <p:cNvSpPr txBox="1"/>
          <p:nvPr/>
        </p:nvSpPr>
        <p:spPr>
          <a:xfrm>
            <a:off x="8965581" y="1849845"/>
            <a:ext cx="1584000" cy="230832"/>
          </a:xfrm>
          <a:prstGeom prst="rect">
            <a:avLst/>
          </a:prstGeom>
          <a:noFill/>
        </p:spPr>
        <p:txBody>
          <a:bodyPr wrap="square" rtlCol="0">
            <a:spAutoFit/>
          </a:bodyPr>
          <a:lstStyle>
            <a:defPPr>
              <a:defRPr lang="de-DE"/>
            </a:defPPr>
            <a:lvl1pPr>
              <a:defRPr sz="900"/>
            </a:lvl1pPr>
          </a:lstStyle>
          <a:p>
            <a:r>
              <a:rPr lang="en-IN"/>
              <a:t>Software Engineers</a:t>
            </a:r>
            <a:endParaRPr lang="en-US"/>
          </a:p>
        </p:txBody>
      </p:sp>
      <p:sp>
        <p:nvSpPr>
          <p:cNvPr id="115" name="TextBox 114">
            <a:extLst>
              <a:ext uri="{FF2B5EF4-FFF2-40B4-BE49-F238E27FC236}">
                <a16:creationId xmlns:a16="http://schemas.microsoft.com/office/drawing/2014/main" id="{6896B49C-C544-442C-61A8-DC35BA3C5454}"/>
              </a:ext>
            </a:extLst>
          </p:cNvPr>
          <p:cNvSpPr txBox="1"/>
          <p:nvPr/>
        </p:nvSpPr>
        <p:spPr>
          <a:xfrm>
            <a:off x="9054208" y="2313666"/>
            <a:ext cx="1692000" cy="230832"/>
          </a:xfrm>
          <a:prstGeom prst="rect">
            <a:avLst/>
          </a:prstGeom>
          <a:noFill/>
        </p:spPr>
        <p:txBody>
          <a:bodyPr wrap="square" rtlCol="0">
            <a:spAutoFit/>
          </a:bodyPr>
          <a:lstStyle/>
          <a:p>
            <a:r>
              <a:rPr lang="en-US" sz="900"/>
              <a:t>Software Engineer</a:t>
            </a:r>
          </a:p>
        </p:txBody>
      </p:sp>
      <p:sp>
        <p:nvSpPr>
          <p:cNvPr id="116" name="TextBox 115">
            <a:extLst>
              <a:ext uri="{FF2B5EF4-FFF2-40B4-BE49-F238E27FC236}">
                <a16:creationId xmlns:a16="http://schemas.microsoft.com/office/drawing/2014/main" id="{67F85117-63CE-CE78-B147-AD457557EC44}"/>
              </a:ext>
            </a:extLst>
          </p:cNvPr>
          <p:cNvSpPr txBox="1"/>
          <p:nvPr/>
        </p:nvSpPr>
        <p:spPr>
          <a:xfrm>
            <a:off x="9042181" y="2769933"/>
            <a:ext cx="1692000" cy="230832"/>
          </a:xfrm>
          <a:prstGeom prst="rect">
            <a:avLst/>
          </a:prstGeom>
          <a:noFill/>
        </p:spPr>
        <p:txBody>
          <a:bodyPr wrap="square" rtlCol="0">
            <a:spAutoFit/>
          </a:bodyPr>
          <a:lstStyle/>
          <a:p>
            <a:r>
              <a:rPr lang="en-US" sz="900"/>
              <a:t>Software Engineer</a:t>
            </a:r>
          </a:p>
        </p:txBody>
      </p:sp>
      <p:sp>
        <p:nvSpPr>
          <p:cNvPr id="117" name="TextBox 116">
            <a:extLst>
              <a:ext uri="{FF2B5EF4-FFF2-40B4-BE49-F238E27FC236}">
                <a16:creationId xmlns:a16="http://schemas.microsoft.com/office/drawing/2014/main" id="{828EB9DB-9944-7838-8D46-5036EAF36F48}"/>
              </a:ext>
            </a:extLst>
          </p:cNvPr>
          <p:cNvSpPr txBox="1"/>
          <p:nvPr/>
        </p:nvSpPr>
        <p:spPr>
          <a:xfrm>
            <a:off x="9054208" y="3236405"/>
            <a:ext cx="1692000" cy="230832"/>
          </a:xfrm>
          <a:prstGeom prst="rect">
            <a:avLst/>
          </a:prstGeom>
          <a:noFill/>
        </p:spPr>
        <p:txBody>
          <a:bodyPr wrap="square" rtlCol="0">
            <a:spAutoFit/>
          </a:bodyPr>
          <a:lstStyle/>
          <a:p>
            <a:r>
              <a:rPr lang="en-US" sz="900"/>
              <a:t>Software Engineer</a:t>
            </a:r>
          </a:p>
        </p:txBody>
      </p:sp>
      <p:sp>
        <p:nvSpPr>
          <p:cNvPr id="118" name="Rectangle: Rounded Corners 117">
            <a:extLst>
              <a:ext uri="{FF2B5EF4-FFF2-40B4-BE49-F238E27FC236}">
                <a16:creationId xmlns:a16="http://schemas.microsoft.com/office/drawing/2014/main" id="{60341A35-8106-27DE-C6BF-88BB82E0815A}"/>
              </a:ext>
            </a:extLst>
          </p:cNvPr>
          <p:cNvSpPr/>
          <p:nvPr/>
        </p:nvSpPr>
        <p:spPr>
          <a:xfrm>
            <a:off x="8872322" y="3649210"/>
            <a:ext cx="1692000" cy="446062"/>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119" name="TextBox 118">
            <a:extLst>
              <a:ext uri="{FF2B5EF4-FFF2-40B4-BE49-F238E27FC236}">
                <a16:creationId xmlns:a16="http://schemas.microsoft.com/office/drawing/2014/main" id="{2101371F-95A9-C39C-F662-B86109A9BB9B}"/>
              </a:ext>
            </a:extLst>
          </p:cNvPr>
          <p:cNvSpPr txBox="1"/>
          <p:nvPr/>
        </p:nvSpPr>
        <p:spPr>
          <a:xfrm>
            <a:off x="9043308" y="3746143"/>
            <a:ext cx="1692000" cy="230832"/>
          </a:xfrm>
          <a:prstGeom prst="rect">
            <a:avLst/>
          </a:prstGeom>
          <a:noFill/>
        </p:spPr>
        <p:txBody>
          <a:bodyPr wrap="square" lIns="91440" tIns="45720" rIns="91440" bIns="45720" rtlCol="0" anchor="t">
            <a:spAutoFit/>
          </a:bodyPr>
          <a:lstStyle/>
          <a:p>
            <a:r>
              <a:rPr lang="en-US" sz="900">
                <a:latin typeface="+mj-lt"/>
              </a:rPr>
              <a:t>QA Engineers</a:t>
            </a:r>
          </a:p>
        </p:txBody>
      </p:sp>
      <p:sp>
        <p:nvSpPr>
          <p:cNvPr id="120" name="TextBox 119">
            <a:extLst>
              <a:ext uri="{FF2B5EF4-FFF2-40B4-BE49-F238E27FC236}">
                <a16:creationId xmlns:a16="http://schemas.microsoft.com/office/drawing/2014/main" id="{74F05D56-BA7D-F499-A959-AA7CC6092D55}"/>
              </a:ext>
            </a:extLst>
          </p:cNvPr>
          <p:cNvSpPr txBox="1"/>
          <p:nvPr/>
        </p:nvSpPr>
        <p:spPr>
          <a:xfrm>
            <a:off x="9047379" y="4204843"/>
            <a:ext cx="1692000" cy="230832"/>
          </a:xfrm>
          <a:prstGeom prst="rect">
            <a:avLst/>
          </a:prstGeom>
          <a:noFill/>
        </p:spPr>
        <p:txBody>
          <a:bodyPr wrap="square" lIns="91440" tIns="45720" rIns="91440" bIns="45720" rtlCol="0" anchor="t">
            <a:spAutoFit/>
          </a:bodyPr>
          <a:lstStyle/>
          <a:p>
            <a:r>
              <a:rPr lang="en-US" sz="900">
                <a:latin typeface="+mj-lt"/>
              </a:rPr>
              <a:t>QA Engineers</a:t>
            </a:r>
          </a:p>
        </p:txBody>
      </p:sp>
      <p:sp>
        <p:nvSpPr>
          <p:cNvPr id="121" name="TextBox 120">
            <a:extLst>
              <a:ext uri="{FF2B5EF4-FFF2-40B4-BE49-F238E27FC236}">
                <a16:creationId xmlns:a16="http://schemas.microsoft.com/office/drawing/2014/main" id="{0B1E0E56-C103-4BF3-DC6B-F249BF2200C4}"/>
              </a:ext>
            </a:extLst>
          </p:cNvPr>
          <p:cNvSpPr txBox="1"/>
          <p:nvPr/>
        </p:nvSpPr>
        <p:spPr>
          <a:xfrm>
            <a:off x="9040760" y="4714364"/>
            <a:ext cx="1692000" cy="230832"/>
          </a:xfrm>
          <a:prstGeom prst="rect">
            <a:avLst/>
          </a:prstGeom>
          <a:noFill/>
        </p:spPr>
        <p:txBody>
          <a:bodyPr wrap="square" lIns="91440" tIns="45720" rIns="91440" bIns="45720" rtlCol="0" anchor="t">
            <a:spAutoFit/>
          </a:bodyPr>
          <a:lstStyle/>
          <a:p>
            <a:r>
              <a:rPr lang="en-US" sz="900">
                <a:latin typeface="+mj-lt"/>
              </a:rPr>
              <a:t>Data engineers</a:t>
            </a:r>
          </a:p>
        </p:txBody>
      </p:sp>
      <p:sp>
        <p:nvSpPr>
          <p:cNvPr id="122" name="Rectangle 121">
            <a:extLst>
              <a:ext uri="{FF2B5EF4-FFF2-40B4-BE49-F238E27FC236}">
                <a16:creationId xmlns:a16="http://schemas.microsoft.com/office/drawing/2014/main" id="{8E540BF1-8583-EEA1-2DD1-972B746803BE}"/>
              </a:ext>
            </a:extLst>
          </p:cNvPr>
          <p:cNvSpPr/>
          <p:nvPr/>
        </p:nvSpPr>
        <p:spPr>
          <a:xfrm>
            <a:off x="10597965" y="1721817"/>
            <a:ext cx="506264" cy="33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grpSp>
        <p:nvGrpSpPr>
          <p:cNvPr id="124" name="Group 123">
            <a:extLst>
              <a:ext uri="{FF2B5EF4-FFF2-40B4-BE49-F238E27FC236}">
                <a16:creationId xmlns:a16="http://schemas.microsoft.com/office/drawing/2014/main" id="{46360BC8-A6E6-4D0F-F15D-A5B2C386E6B7}"/>
              </a:ext>
            </a:extLst>
          </p:cNvPr>
          <p:cNvGrpSpPr/>
          <p:nvPr/>
        </p:nvGrpSpPr>
        <p:grpSpPr>
          <a:xfrm>
            <a:off x="10695019" y="4699362"/>
            <a:ext cx="343563" cy="345579"/>
            <a:chOff x="4983693" y="1073777"/>
            <a:chExt cx="368029" cy="370189"/>
          </a:xfrm>
        </p:grpSpPr>
        <p:sp>
          <p:nvSpPr>
            <p:cNvPr id="125" name="Freeform 326">
              <a:extLst>
                <a:ext uri="{FF2B5EF4-FFF2-40B4-BE49-F238E27FC236}">
                  <a16:creationId xmlns:a16="http://schemas.microsoft.com/office/drawing/2014/main" id="{5DDAA1C3-88B9-CD7A-0E53-68C065CD6670}"/>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26" name="Freeform 329">
              <a:extLst>
                <a:ext uri="{FF2B5EF4-FFF2-40B4-BE49-F238E27FC236}">
                  <a16:creationId xmlns:a16="http://schemas.microsoft.com/office/drawing/2014/main" id="{9E1B0F6F-57B0-5B26-542C-E109DB685784}"/>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27" name="Freeform 330">
              <a:extLst>
                <a:ext uri="{FF2B5EF4-FFF2-40B4-BE49-F238E27FC236}">
                  <a16:creationId xmlns:a16="http://schemas.microsoft.com/office/drawing/2014/main" id="{BF8A2114-665C-C6B9-0236-AE20E3CC6EEA}"/>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28" name="Group 127">
            <a:extLst>
              <a:ext uri="{FF2B5EF4-FFF2-40B4-BE49-F238E27FC236}">
                <a16:creationId xmlns:a16="http://schemas.microsoft.com/office/drawing/2014/main" id="{2DBD13C8-8C57-F1B1-D9F3-B4BF003765BA}"/>
              </a:ext>
            </a:extLst>
          </p:cNvPr>
          <p:cNvGrpSpPr/>
          <p:nvPr/>
        </p:nvGrpSpPr>
        <p:grpSpPr>
          <a:xfrm>
            <a:off x="10708582" y="4186497"/>
            <a:ext cx="343563" cy="345579"/>
            <a:chOff x="4983693" y="1073777"/>
            <a:chExt cx="368029" cy="370189"/>
          </a:xfrm>
        </p:grpSpPr>
        <p:sp>
          <p:nvSpPr>
            <p:cNvPr id="129" name="Freeform 326">
              <a:extLst>
                <a:ext uri="{FF2B5EF4-FFF2-40B4-BE49-F238E27FC236}">
                  <a16:creationId xmlns:a16="http://schemas.microsoft.com/office/drawing/2014/main" id="{C5954CF3-C7D3-6518-2EBB-39D59043D451}"/>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30" name="Freeform 329">
              <a:extLst>
                <a:ext uri="{FF2B5EF4-FFF2-40B4-BE49-F238E27FC236}">
                  <a16:creationId xmlns:a16="http://schemas.microsoft.com/office/drawing/2014/main" id="{6BB2EDBB-AD4A-D656-750A-199B7CD998D5}"/>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31" name="Freeform 330">
              <a:extLst>
                <a:ext uri="{FF2B5EF4-FFF2-40B4-BE49-F238E27FC236}">
                  <a16:creationId xmlns:a16="http://schemas.microsoft.com/office/drawing/2014/main" id="{B5BAE4BA-330C-9419-99D9-34D4BB27EC73}"/>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32" name="Group 131">
            <a:extLst>
              <a:ext uri="{FF2B5EF4-FFF2-40B4-BE49-F238E27FC236}">
                <a16:creationId xmlns:a16="http://schemas.microsoft.com/office/drawing/2014/main" id="{A1972DF0-D566-7586-56A1-CB894221834B}"/>
              </a:ext>
            </a:extLst>
          </p:cNvPr>
          <p:cNvGrpSpPr/>
          <p:nvPr/>
        </p:nvGrpSpPr>
        <p:grpSpPr>
          <a:xfrm>
            <a:off x="10712996" y="3663389"/>
            <a:ext cx="343563" cy="345579"/>
            <a:chOff x="4983693" y="1073777"/>
            <a:chExt cx="368029" cy="370189"/>
          </a:xfrm>
        </p:grpSpPr>
        <p:sp>
          <p:nvSpPr>
            <p:cNvPr id="133" name="Freeform 326">
              <a:extLst>
                <a:ext uri="{FF2B5EF4-FFF2-40B4-BE49-F238E27FC236}">
                  <a16:creationId xmlns:a16="http://schemas.microsoft.com/office/drawing/2014/main" id="{19FE1B62-03DB-4B0A-3931-A4AE2B616BD3}"/>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34" name="Freeform 329">
              <a:extLst>
                <a:ext uri="{FF2B5EF4-FFF2-40B4-BE49-F238E27FC236}">
                  <a16:creationId xmlns:a16="http://schemas.microsoft.com/office/drawing/2014/main" id="{A3C4625A-9E33-213A-9440-2BB9A80819E3}"/>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35" name="Freeform 330">
              <a:extLst>
                <a:ext uri="{FF2B5EF4-FFF2-40B4-BE49-F238E27FC236}">
                  <a16:creationId xmlns:a16="http://schemas.microsoft.com/office/drawing/2014/main" id="{192252CA-B486-8C6D-7A85-807494D2595C}"/>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36" name="Group 135">
            <a:extLst>
              <a:ext uri="{FF2B5EF4-FFF2-40B4-BE49-F238E27FC236}">
                <a16:creationId xmlns:a16="http://schemas.microsoft.com/office/drawing/2014/main" id="{4F7EB61C-974D-11DF-77A9-A9842B9AA3FC}"/>
              </a:ext>
            </a:extLst>
          </p:cNvPr>
          <p:cNvGrpSpPr/>
          <p:nvPr/>
        </p:nvGrpSpPr>
        <p:grpSpPr>
          <a:xfrm>
            <a:off x="10695237" y="3223347"/>
            <a:ext cx="343563" cy="345579"/>
            <a:chOff x="4983693" y="1073777"/>
            <a:chExt cx="368029" cy="370189"/>
          </a:xfrm>
        </p:grpSpPr>
        <p:sp>
          <p:nvSpPr>
            <p:cNvPr id="137" name="Freeform 326">
              <a:extLst>
                <a:ext uri="{FF2B5EF4-FFF2-40B4-BE49-F238E27FC236}">
                  <a16:creationId xmlns:a16="http://schemas.microsoft.com/office/drawing/2014/main" id="{E7DDAE2A-5675-9631-70EC-3C7918BD5543}"/>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38" name="Freeform 329">
              <a:extLst>
                <a:ext uri="{FF2B5EF4-FFF2-40B4-BE49-F238E27FC236}">
                  <a16:creationId xmlns:a16="http://schemas.microsoft.com/office/drawing/2014/main" id="{7351A738-4BA7-FC86-6EAA-B173DFAAB39B}"/>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39" name="Freeform 330">
              <a:extLst>
                <a:ext uri="{FF2B5EF4-FFF2-40B4-BE49-F238E27FC236}">
                  <a16:creationId xmlns:a16="http://schemas.microsoft.com/office/drawing/2014/main" id="{0E1E549D-BE4C-70C8-89DB-E09312F1A06D}"/>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40" name="Group 139">
            <a:extLst>
              <a:ext uri="{FF2B5EF4-FFF2-40B4-BE49-F238E27FC236}">
                <a16:creationId xmlns:a16="http://schemas.microsoft.com/office/drawing/2014/main" id="{4559C28E-9E71-AB30-44F1-36C0A46264BB}"/>
              </a:ext>
            </a:extLst>
          </p:cNvPr>
          <p:cNvGrpSpPr/>
          <p:nvPr/>
        </p:nvGrpSpPr>
        <p:grpSpPr>
          <a:xfrm>
            <a:off x="10688433" y="2769637"/>
            <a:ext cx="343563" cy="345579"/>
            <a:chOff x="4983693" y="1073777"/>
            <a:chExt cx="368029" cy="370189"/>
          </a:xfrm>
        </p:grpSpPr>
        <p:sp>
          <p:nvSpPr>
            <p:cNvPr id="141" name="Freeform 326">
              <a:extLst>
                <a:ext uri="{FF2B5EF4-FFF2-40B4-BE49-F238E27FC236}">
                  <a16:creationId xmlns:a16="http://schemas.microsoft.com/office/drawing/2014/main" id="{96B00CF7-3F7D-7077-3F49-930F6E56B8F0}"/>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42" name="Freeform 329">
              <a:extLst>
                <a:ext uri="{FF2B5EF4-FFF2-40B4-BE49-F238E27FC236}">
                  <a16:creationId xmlns:a16="http://schemas.microsoft.com/office/drawing/2014/main" id="{29CEFEF7-FA9D-9F91-1568-F51E46ABC7F7}"/>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43" name="Freeform 330">
              <a:extLst>
                <a:ext uri="{FF2B5EF4-FFF2-40B4-BE49-F238E27FC236}">
                  <a16:creationId xmlns:a16="http://schemas.microsoft.com/office/drawing/2014/main" id="{CFD4EF8C-CDBD-D2F3-1928-66AEBF060017}"/>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44" name="Group 143">
            <a:extLst>
              <a:ext uri="{FF2B5EF4-FFF2-40B4-BE49-F238E27FC236}">
                <a16:creationId xmlns:a16="http://schemas.microsoft.com/office/drawing/2014/main" id="{A60942F9-C1C6-3533-77AA-38DF9759CF35}"/>
              </a:ext>
            </a:extLst>
          </p:cNvPr>
          <p:cNvGrpSpPr/>
          <p:nvPr/>
        </p:nvGrpSpPr>
        <p:grpSpPr>
          <a:xfrm>
            <a:off x="10682716" y="2306714"/>
            <a:ext cx="343563" cy="345579"/>
            <a:chOff x="4983693" y="1073777"/>
            <a:chExt cx="368029" cy="370189"/>
          </a:xfrm>
        </p:grpSpPr>
        <p:sp>
          <p:nvSpPr>
            <p:cNvPr id="145" name="Freeform 326">
              <a:extLst>
                <a:ext uri="{FF2B5EF4-FFF2-40B4-BE49-F238E27FC236}">
                  <a16:creationId xmlns:a16="http://schemas.microsoft.com/office/drawing/2014/main" id="{138DA140-7AD3-B5E9-2372-34CCEEDDA333}"/>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46" name="Freeform 329">
              <a:extLst>
                <a:ext uri="{FF2B5EF4-FFF2-40B4-BE49-F238E27FC236}">
                  <a16:creationId xmlns:a16="http://schemas.microsoft.com/office/drawing/2014/main" id="{8700089E-9313-E3B3-1F98-3330AD96D829}"/>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47" name="Freeform 330">
              <a:extLst>
                <a:ext uri="{FF2B5EF4-FFF2-40B4-BE49-F238E27FC236}">
                  <a16:creationId xmlns:a16="http://schemas.microsoft.com/office/drawing/2014/main" id="{293BEF55-3D50-A10B-B560-88831E68582E}"/>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48" name="Group 147">
            <a:extLst>
              <a:ext uri="{FF2B5EF4-FFF2-40B4-BE49-F238E27FC236}">
                <a16:creationId xmlns:a16="http://schemas.microsoft.com/office/drawing/2014/main" id="{5E4FDD82-4BB1-220C-2E4A-770B4DA4CE2B}"/>
              </a:ext>
            </a:extLst>
          </p:cNvPr>
          <p:cNvGrpSpPr/>
          <p:nvPr/>
        </p:nvGrpSpPr>
        <p:grpSpPr>
          <a:xfrm>
            <a:off x="10678706" y="1803782"/>
            <a:ext cx="343563" cy="345579"/>
            <a:chOff x="4983693" y="1073777"/>
            <a:chExt cx="368029" cy="370189"/>
          </a:xfrm>
        </p:grpSpPr>
        <p:sp>
          <p:nvSpPr>
            <p:cNvPr id="149" name="Freeform 326">
              <a:extLst>
                <a:ext uri="{FF2B5EF4-FFF2-40B4-BE49-F238E27FC236}">
                  <a16:creationId xmlns:a16="http://schemas.microsoft.com/office/drawing/2014/main" id="{F77FE195-9A34-3B94-9750-EECDE881C23A}"/>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50" name="Freeform 329">
              <a:extLst>
                <a:ext uri="{FF2B5EF4-FFF2-40B4-BE49-F238E27FC236}">
                  <a16:creationId xmlns:a16="http://schemas.microsoft.com/office/drawing/2014/main" id="{D8E303D5-8163-437D-956A-3F9A251AAE5E}"/>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51" name="Freeform 330">
              <a:extLst>
                <a:ext uri="{FF2B5EF4-FFF2-40B4-BE49-F238E27FC236}">
                  <a16:creationId xmlns:a16="http://schemas.microsoft.com/office/drawing/2014/main" id="{25212C25-50DA-A259-B7E3-2178434BDF04}"/>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53" name="Group 152">
            <a:extLst>
              <a:ext uri="{FF2B5EF4-FFF2-40B4-BE49-F238E27FC236}">
                <a16:creationId xmlns:a16="http://schemas.microsoft.com/office/drawing/2014/main" id="{B3338128-A6BD-CFB4-FAD0-1E226A932AFA}"/>
              </a:ext>
            </a:extLst>
          </p:cNvPr>
          <p:cNvGrpSpPr/>
          <p:nvPr/>
        </p:nvGrpSpPr>
        <p:grpSpPr>
          <a:xfrm>
            <a:off x="3293690" y="1815149"/>
            <a:ext cx="343565" cy="345579"/>
            <a:chOff x="4973901" y="1073777"/>
            <a:chExt cx="368031" cy="370189"/>
          </a:xfrm>
        </p:grpSpPr>
        <p:sp>
          <p:nvSpPr>
            <p:cNvPr id="174" name="Freeform 326">
              <a:extLst>
                <a:ext uri="{FF2B5EF4-FFF2-40B4-BE49-F238E27FC236}">
                  <a16:creationId xmlns:a16="http://schemas.microsoft.com/office/drawing/2014/main" id="{B185C2B8-B827-C6BB-44A8-DC37B45EC16D}"/>
                </a:ext>
              </a:extLst>
            </p:cNvPr>
            <p:cNvSpPr>
              <a:spLocks/>
            </p:cNvSpPr>
            <p:nvPr/>
          </p:nvSpPr>
          <p:spPr bwMode="auto">
            <a:xfrm>
              <a:off x="4973901" y="1073777"/>
              <a:ext cx="368031"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75" name="Freeform 329">
              <a:extLst>
                <a:ext uri="{FF2B5EF4-FFF2-40B4-BE49-F238E27FC236}">
                  <a16:creationId xmlns:a16="http://schemas.microsoft.com/office/drawing/2014/main" id="{170E1E0A-55F1-8199-0779-D6FACEDD9D5D}"/>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76" name="Freeform 330">
              <a:extLst>
                <a:ext uri="{FF2B5EF4-FFF2-40B4-BE49-F238E27FC236}">
                  <a16:creationId xmlns:a16="http://schemas.microsoft.com/office/drawing/2014/main" id="{FF74FE2C-6BD6-9330-4EA5-62FB79752481}"/>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54" name="Group 153">
            <a:extLst>
              <a:ext uri="{FF2B5EF4-FFF2-40B4-BE49-F238E27FC236}">
                <a16:creationId xmlns:a16="http://schemas.microsoft.com/office/drawing/2014/main" id="{D3AEEC7C-BB6A-9C33-5230-B2463BF2B46E}"/>
              </a:ext>
            </a:extLst>
          </p:cNvPr>
          <p:cNvGrpSpPr/>
          <p:nvPr/>
        </p:nvGrpSpPr>
        <p:grpSpPr>
          <a:xfrm>
            <a:off x="3306923" y="2314745"/>
            <a:ext cx="343565" cy="345579"/>
            <a:chOff x="4973901" y="1073777"/>
            <a:chExt cx="368031" cy="370189"/>
          </a:xfrm>
        </p:grpSpPr>
        <p:sp>
          <p:nvSpPr>
            <p:cNvPr id="171" name="Freeform 326">
              <a:extLst>
                <a:ext uri="{FF2B5EF4-FFF2-40B4-BE49-F238E27FC236}">
                  <a16:creationId xmlns:a16="http://schemas.microsoft.com/office/drawing/2014/main" id="{08BE4C01-EE94-5DBD-C716-54423AD5B1B4}"/>
                </a:ext>
              </a:extLst>
            </p:cNvPr>
            <p:cNvSpPr>
              <a:spLocks/>
            </p:cNvSpPr>
            <p:nvPr/>
          </p:nvSpPr>
          <p:spPr bwMode="auto">
            <a:xfrm>
              <a:off x="4973901" y="1073777"/>
              <a:ext cx="368031"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72" name="Freeform 329">
              <a:extLst>
                <a:ext uri="{FF2B5EF4-FFF2-40B4-BE49-F238E27FC236}">
                  <a16:creationId xmlns:a16="http://schemas.microsoft.com/office/drawing/2014/main" id="{246368C0-C7B1-7BFE-4E47-9842002BF80F}"/>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73" name="Freeform 330">
              <a:extLst>
                <a:ext uri="{FF2B5EF4-FFF2-40B4-BE49-F238E27FC236}">
                  <a16:creationId xmlns:a16="http://schemas.microsoft.com/office/drawing/2014/main" id="{E9B686F2-EDDA-7BDC-270F-6737F8F4C1EF}"/>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55" name="Group 154">
            <a:extLst>
              <a:ext uri="{FF2B5EF4-FFF2-40B4-BE49-F238E27FC236}">
                <a16:creationId xmlns:a16="http://schemas.microsoft.com/office/drawing/2014/main" id="{9C609F9C-0A79-77E9-97C1-06EDEA441FB5}"/>
              </a:ext>
            </a:extLst>
          </p:cNvPr>
          <p:cNvGrpSpPr/>
          <p:nvPr/>
        </p:nvGrpSpPr>
        <p:grpSpPr>
          <a:xfrm>
            <a:off x="3320155" y="2715088"/>
            <a:ext cx="343565" cy="345579"/>
            <a:chOff x="4973901" y="1073777"/>
            <a:chExt cx="368031" cy="370189"/>
          </a:xfrm>
        </p:grpSpPr>
        <p:sp>
          <p:nvSpPr>
            <p:cNvPr id="168" name="Freeform 326">
              <a:extLst>
                <a:ext uri="{FF2B5EF4-FFF2-40B4-BE49-F238E27FC236}">
                  <a16:creationId xmlns:a16="http://schemas.microsoft.com/office/drawing/2014/main" id="{920A4622-C386-41A5-0E40-3CBF7A3F39E1}"/>
                </a:ext>
              </a:extLst>
            </p:cNvPr>
            <p:cNvSpPr>
              <a:spLocks/>
            </p:cNvSpPr>
            <p:nvPr/>
          </p:nvSpPr>
          <p:spPr bwMode="auto">
            <a:xfrm>
              <a:off x="4973901" y="1073777"/>
              <a:ext cx="368031"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69" name="Freeform 329">
              <a:extLst>
                <a:ext uri="{FF2B5EF4-FFF2-40B4-BE49-F238E27FC236}">
                  <a16:creationId xmlns:a16="http://schemas.microsoft.com/office/drawing/2014/main" id="{AB8DAC19-C3D6-E110-EF74-CBB22AF05B7C}"/>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70" name="Freeform 330">
              <a:extLst>
                <a:ext uri="{FF2B5EF4-FFF2-40B4-BE49-F238E27FC236}">
                  <a16:creationId xmlns:a16="http://schemas.microsoft.com/office/drawing/2014/main" id="{1FC4CBCF-3E74-8573-FC82-4B492BAA9897}"/>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56" name="Group 155">
            <a:extLst>
              <a:ext uri="{FF2B5EF4-FFF2-40B4-BE49-F238E27FC236}">
                <a16:creationId xmlns:a16="http://schemas.microsoft.com/office/drawing/2014/main" id="{8AFA9F57-E91D-4174-8C4F-CEC9B1FC685E}"/>
              </a:ext>
            </a:extLst>
          </p:cNvPr>
          <p:cNvGrpSpPr/>
          <p:nvPr/>
        </p:nvGrpSpPr>
        <p:grpSpPr>
          <a:xfrm>
            <a:off x="3330079" y="3161738"/>
            <a:ext cx="343565" cy="345579"/>
            <a:chOff x="4973901" y="1073777"/>
            <a:chExt cx="368031" cy="370189"/>
          </a:xfrm>
        </p:grpSpPr>
        <p:sp>
          <p:nvSpPr>
            <p:cNvPr id="165" name="Freeform 326">
              <a:extLst>
                <a:ext uri="{FF2B5EF4-FFF2-40B4-BE49-F238E27FC236}">
                  <a16:creationId xmlns:a16="http://schemas.microsoft.com/office/drawing/2014/main" id="{39D8ECEE-3E26-C84F-645A-58CC13156C40}"/>
                </a:ext>
              </a:extLst>
            </p:cNvPr>
            <p:cNvSpPr>
              <a:spLocks/>
            </p:cNvSpPr>
            <p:nvPr/>
          </p:nvSpPr>
          <p:spPr bwMode="auto">
            <a:xfrm>
              <a:off x="4973901" y="1073777"/>
              <a:ext cx="368031"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66" name="Freeform 329">
              <a:extLst>
                <a:ext uri="{FF2B5EF4-FFF2-40B4-BE49-F238E27FC236}">
                  <a16:creationId xmlns:a16="http://schemas.microsoft.com/office/drawing/2014/main" id="{54171519-ECF3-0BAD-9CA7-A50D5E947747}"/>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67" name="Freeform 330">
              <a:extLst>
                <a:ext uri="{FF2B5EF4-FFF2-40B4-BE49-F238E27FC236}">
                  <a16:creationId xmlns:a16="http://schemas.microsoft.com/office/drawing/2014/main" id="{FD7FF03E-A25A-510B-506B-DA2E9FCB8D14}"/>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57" name="Group 156">
            <a:extLst>
              <a:ext uri="{FF2B5EF4-FFF2-40B4-BE49-F238E27FC236}">
                <a16:creationId xmlns:a16="http://schemas.microsoft.com/office/drawing/2014/main" id="{D5B6DDD4-B21E-E59B-4D37-9CCBC5F9752C}"/>
              </a:ext>
            </a:extLst>
          </p:cNvPr>
          <p:cNvGrpSpPr/>
          <p:nvPr/>
        </p:nvGrpSpPr>
        <p:grpSpPr>
          <a:xfrm>
            <a:off x="3340007" y="3667948"/>
            <a:ext cx="343565" cy="345579"/>
            <a:chOff x="4973901" y="1073777"/>
            <a:chExt cx="368031" cy="370189"/>
          </a:xfrm>
        </p:grpSpPr>
        <p:sp>
          <p:nvSpPr>
            <p:cNvPr id="162" name="Freeform 326">
              <a:extLst>
                <a:ext uri="{FF2B5EF4-FFF2-40B4-BE49-F238E27FC236}">
                  <a16:creationId xmlns:a16="http://schemas.microsoft.com/office/drawing/2014/main" id="{560E9E94-08EC-C21F-F385-1A499A9B0619}"/>
                </a:ext>
              </a:extLst>
            </p:cNvPr>
            <p:cNvSpPr>
              <a:spLocks/>
            </p:cNvSpPr>
            <p:nvPr/>
          </p:nvSpPr>
          <p:spPr bwMode="auto">
            <a:xfrm>
              <a:off x="4973901" y="1073777"/>
              <a:ext cx="368031"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63" name="Freeform 329">
              <a:extLst>
                <a:ext uri="{FF2B5EF4-FFF2-40B4-BE49-F238E27FC236}">
                  <a16:creationId xmlns:a16="http://schemas.microsoft.com/office/drawing/2014/main" id="{3739D6F5-0F56-0256-F9D2-D1687B9C1EF6}"/>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64" name="Freeform 330">
              <a:extLst>
                <a:ext uri="{FF2B5EF4-FFF2-40B4-BE49-F238E27FC236}">
                  <a16:creationId xmlns:a16="http://schemas.microsoft.com/office/drawing/2014/main" id="{330D7E8F-349D-4237-05C8-F62781947AF4}"/>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sp>
        <p:nvSpPr>
          <p:cNvPr id="177" name="Rectangle 176">
            <a:extLst>
              <a:ext uri="{FF2B5EF4-FFF2-40B4-BE49-F238E27FC236}">
                <a16:creationId xmlns:a16="http://schemas.microsoft.com/office/drawing/2014/main" id="{19F466C7-629D-2A8F-EE18-C4A625634143}"/>
              </a:ext>
            </a:extLst>
          </p:cNvPr>
          <p:cNvSpPr/>
          <p:nvPr/>
        </p:nvSpPr>
        <p:spPr>
          <a:xfrm>
            <a:off x="8083052" y="1718950"/>
            <a:ext cx="540000" cy="33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grpSp>
        <p:nvGrpSpPr>
          <p:cNvPr id="179" name="Group 178">
            <a:extLst>
              <a:ext uri="{FF2B5EF4-FFF2-40B4-BE49-F238E27FC236}">
                <a16:creationId xmlns:a16="http://schemas.microsoft.com/office/drawing/2014/main" id="{465A70CA-80D8-F88A-289A-07599C387CC4}"/>
              </a:ext>
            </a:extLst>
          </p:cNvPr>
          <p:cNvGrpSpPr/>
          <p:nvPr/>
        </p:nvGrpSpPr>
        <p:grpSpPr>
          <a:xfrm>
            <a:off x="8259925" y="4696493"/>
            <a:ext cx="299148" cy="345579"/>
            <a:chOff x="4983693" y="1073777"/>
            <a:chExt cx="368029" cy="370189"/>
          </a:xfrm>
        </p:grpSpPr>
        <p:sp>
          <p:nvSpPr>
            <p:cNvPr id="180" name="Freeform 326">
              <a:extLst>
                <a:ext uri="{FF2B5EF4-FFF2-40B4-BE49-F238E27FC236}">
                  <a16:creationId xmlns:a16="http://schemas.microsoft.com/office/drawing/2014/main" id="{2623FBB2-592B-A656-92B6-60199D50D439}"/>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81" name="Freeform 329">
              <a:extLst>
                <a:ext uri="{FF2B5EF4-FFF2-40B4-BE49-F238E27FC236}">
                  <a16:creationId xmlns:a16="http://schemas.microsoft.com/office/drawing/2014/main" id="{5129FD70-1BC0-BBC7-E815-8F59B831E361}"/>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82" name="Freeform 330">
              <a:extLst>
                <a:ext uri="{FF2B5EF4-FFF2-40B4-BE49-F238E27FC236}">
                  <a16:creationId xmlns:a16="http://schemas.microsoft.com/office/drawing/2014/main" id="{47A4C0E6-95E3-8D5B-6F05-406D93075B2B}"/>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83" name="Group 182">
            <a:extLst>
              <a:ext uri="{FF2B5EF4-FFF2-40B4-BE49-F238E27FC236}">
                <a16:creationId xmlns:a16="http://schemas.microsoft.com/office/drawing/2014/main" id="{DAD0987F-77EA-07BC-F819-4A67A23330C0}"/>
              </a:ext>
            </a:extLst>
          </p:cNvPr>
          <p:cNvGrpSpPr/>
          <p:nvPr/>
        </p:nvGrpSpPr>
        <p:grpSpPr>
          <a:xfrm>
            <a:off x="8262476" y="4183629"/>
            <a:ext cx="299148" cy="345579"/>
            <a:chOff x="4983693" y="1073777"/>
            <a:chExt cx="368029" cy="370189"/>
          </a:xfrm>
        </p:grpSpPr>
        <p:sp>
          <p:nvSpPr>
            <p:cNvPr id="184" name="Freeform 326">
              <a:extLst>
                <a:ext uri="{FF2B5EF4-FFF2-40B4-BE49-F238E27FC236}">
                  <a16:creationId xmlns:a16="http://schemas.microsoft.com/office/drawing/2014/main" id="{894F1E57-90C0-694B-5F91-3EB3E35944D9}"/>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85" name="Freeform 329">
              <a:extLst>
                <a:ext uri="{FF2B5EF4-FFF2-40B4-BE49-F238E27FC236}">
                  <a16:creationId xmlns:a16="http://schemas.microsoft.com/office/drawing/2014/main" id="{98A159BC-99C8-15A4-265C-5DDFE0E2559E}"/>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86" name="Freeform 330">
              <a:extLst>
                <a:ext uri="{FF2B5EF4-FFF2-40B4-BE49-F238E27FC236}">
                  <a16:creationId xmlns:a16="http://schemas.microsoft.com/office/drawing/2014/main" id="{5AF6DC5C-AB96-B5AB-B48A-37B3F65E5013}"/>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87" name="Group 186">
            <a:extLst>
              <a:ext uri="{FF2B5EF4-FFF2-40B4-BE49-F238E27FC236}">
                <a16:creationId xmlns:a16="http://schemas.microsoft.com/office/drawing/2014/main" id="{FEDBF07F-DB9B-F9F6-4AE7-7F3F1C14E5F3}"/>
              </a:ext>
            </a:extLst>
          </p:cNvPr>
          <p:cNvGrpSpPr/>
          <p:nvPr/>
        </p:nvGrpSpPr>
        <p:grpSpPr>
          <a:xfrm>
            <a:off x="8266319" y="3660521"/>
            <a:ext cx="299148" cy="345579"/>
            <a:chOff x="4983693" y="1073777"/>
            <a:chExt cx="368029" cy="370189"/>
          </a:xfrm>
        </p:grpSpPr>
        <p:sp>
          <p:nvSpPr>
            <p:cNvPr id="188" name="Freeform 326">
              <a:extLst>
                <a:ext uri="{FF2B5EF4-FFF2-40B4-BE49-F238E27FC236}">
                  <a16:creationId xmlns:a16="http://schemas.microsoft.com/office/drawing/2014/main" id="{FAADC66D-4308-42FB-0977-88B769030B90}"/>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89" name="Freeform 329">
              <a:extLst>
                <a:ext uri="{FF2B5EF4-FFF2-40B4-BE49-F238E27FC236}">
                  <a16:creationId xmlns:a16="http://schemas.microsoft.com/office/drawing/2014/main" id="{A10FC1A9-155F-2B72-4F34-CFBEBF8FB847}"/>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90" name="Freeform 330">
              <a:extLst>
                <a:ext uri="{FF2B5EF4-FFF2-40B4-BE49-F238E27FC236}">
                  <a16:creationId xmlns:a16="http://schemas.microsoft.com/office/drawing/2014/main" id="{0B450A57-81FD-F08A-E98E-97714D2FEFB9}"/>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91" name="Group 190">
            <a:extLst>
              <a:ext uri="{FF2B5EF4-FFF2-40B4-BE49-F238E27FC236}">
                <a16:creationId xmlns:a16="http://schemas.microsoft.com/office/drawing/2014/main" id="{3C37C6A9-A6BB-8057-C9C6-602164211257}"/>
              </a:ext>
            </a:extLst>
          </p:cNvPr>
          <p:cNvGrpSpPr/>
          <p:nvPr/>
        </p:nvGrpSpPr>
        <p:grpSpPr>
          <a:xfrm>
            <a:off x="8250856" y="3220479"/>
            <a:ext cx="299148" cy="345579"/>
            <a:chOff x="4983693" y="1073777"/>
            <a:chExt cx="368029" cy="370189"/>
          </a:xfrm>
        </p:grpSpPr>
        <p:sp>
          <p:nvSpPr>
            <p:cNvPr id="192" name="Freeform 326">
              <a:extLst>
                <a:ext uri="{FF2B5EF4-FFF2-40B4-BE49-F238E27FC236}">
                  <a16:creationId xmlns:a16="http://schemas.microsoft.com/office/drawing/2014/main" id="{F618CF78-1381-4BAA-B3E8-BD5B302A9C07}"/>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93" name="Freeform 329">
              <a:extLst>
                <a:ext uri="{FF2B5EF4-FFF2-40B4-BE49-F238E27FC236}">
                  <a16:creationId xmlns:a16="http://schemas.microsoft.com/office/drawing/2014/main" id="{85193BB5-CB81-11E0-BAA9-B644B87E620E}"/>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94" name="Freeform 330">
              <a:extLst>
                <a:ext uri="{FF2B5EF4-FFF2-40B4-BE49-F238E27FC236}">
                  <a16:creationId xmlns:a16="http://schemas.microsoft.com/office/drawing/2014/main" id="{329AFDA4-C1A6-9B5F-7CE9-D211F203E45E}"/>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95" name="Group 194">
            <a:extLst>
              <a:ext uri="{FF2B5EF4-FFF2-40B4-BE49-F238E27FC236}">
                <a16:creationId xmlns:a16="http://schemas.microsoft.com/office/drawing/2014/main" id="{30112DCF-2DB0-D455-DF4F-7880BD4315E9}"/>
              </a:ext>
            </a:extLst>
          </p:cNvPr>
          <p:cNvGrpSpPr/>
          <p:nvPr/>
        </p:nvGrpSpPr>
        <p:grpSpPr>
          <a:xfrm>
            <a:off x="8244932" y="2766769"/>
            <a:ext cx="299148" cy="345579"/>
            <a:chOff x="4983693" y="1073777"/>
            <a:chExt cx="368029" cy="370189"/>
          </a:xfrm>
        </p:grpSpPr>
        <p:sp>
          <p:nvSpPr>
            <p:cNvPr id="196" name="Freeform 326">
              <a:extLst>
                <a:ext uri="{FF2B5EF4-FFF2-40B4-BE49-F238E27FC236}">
                  <a16:creationId xmlns:a16="http://schemas.microsoft.com/office/drawing/2014/main" id="{BE7AA98E-6513-0314-199F-59DA1ABA1A53}"/>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97" name="Freeform 329">
              <a:extLst>
                <a:ext uri="{FF2B5EF4-FFF2-40B4-BE49-F238E27FC236}">
                  <a16:creationId xmlns:a16="http://schemas.microsoft.com/office/drawing/2014/main" id="{AE163265-F8B3-2AE0-CD35-C31CCCF1B567}"/>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98" name="Freeform 330">
              <a:extLst>
                <a:ext uri="{FF2B5EF4-FFF2-40B4-BE49-F238E27FC236}">
                  <a16:creationId xmlns:a16="http://schemas.microsoft.com/office/drawing/2014/main" id="{3D2ECCD1-FC8F-186C-3265-5CE94DFC2049}"/>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99" name="Group 198">
            <a:extLst>
              <a:ext uri="{FF2B5EF4-FFF2-40B4-BE49-F238E27FC236}">
                <a16:creationId xmlns:a16="http://schemas.microsoft.com/office/drawing/2014/main" id="{AA0117D3-45BC-5B7B-B214-7F11CC5FD659}"/>
              </a:ext>
            </a:extLst>
          </p:cNvPr>
          <p:cNvGrpSpPr/>
          <p:nvPr/>
        </p:nvGrpSpPr>
        <p:grpSpPr>
          <a:xfrm>
            <a:off x="8239954" y="2303846"/>
            <a:ext cx="299148" cy="345579"/>
            <a:chOff x="4983693" y="1073777"/>
            <a:chExt cx="368029" cy="370189"/>
          </a:xfrm>
        </p:grpSpPr>
        <p:sp>
          <p:nvSpPr>
            <p:cNvPr id="200" name="Freeform 326">
              <a:extLst>
                <a:ext uri="{FF2B5EF4-FFF2-40B4-BE49-F238E27FC236}">
                  <a16:creationId xmlns:a16="http://schemas.microsoft.com/office/drawing/2014/main" id="{4259ACC1-107B-7374-D684-547760DE7F79}"/>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01" name="Freeform 329">
              <a:extLst>
                <a:ext uri="{FF2B5EF4-FFF2-40B4-BE49-F238E27FC236}">
                  <a16:creationId xmlns:a16="http://schemas.microsoft.com/office/drawing/2014/main" id="{BF1BAA3A-01CB-F5F8-B262-A9F31B065DB8}"/>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02" name="Freeform 330">
              <a:extLst>
                <a:ext uri="{FF2B5EF4-FFF2-40B4-BE49-F238E27FC236}">
                  <a16:creationId xmlns:a16="http://schemas.microsoft.com/office/drawing/2014/main" id="{3B4E8277-636F-61E5-A038-C27F341264F2}"/>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03" name="Group 202">
            <a:extLst>
              <a:ext uri="{FF2B5EF4-FFF2-40B4-BE49-F238E27FC236}">
                <a16:creationId xmlns:a16="http://schemas.microsoft.com/office/drawing/2014/main" id="{5E8E77B2-C215-B9F1-0617-7CDCF2988FF1}"/>
              </a:ext>
            </a:extLst>
          </p:cNvPr>
          <p:cNvGrpSpPr/>
          <p:nvPr/>
        </p:nvGrpSpPr>
        <p:grpSpPr>
          <a:xfrm>
            <a:off x="8236462" y="1800914"/>
            <a:ext cx="299148" cy="345579"/>
            <a:chOff x="4983693" y="1073777"/>
            <a:chExt cx="368029" cy="370189"/>
          </a:xfrm>
        </p:grpSpPr>
        <p:sp>
          <p:nvSpPr>
            <p:cNvPr id="204" name="Freeform 326">
              <a:extLst>
                <a:ext uri="{FF2B5EF4-FFF2-40B4-BE49-F238E27FC236}">
                  <a16:creationId xmlns:a16="http://schemas.microsoft.com/office/drawing/2014/main" id="{FAF6850D-9AD9-E3A8-48FA-0BA94D3D3C0E}"/>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05" name="Freeform 329">
              <a:extLst>
                <a:ext uri="{FF2B5EF4-FFF2-40B4-BE49-F238E27FC236}">
                  <a16:creationId xmlns:a16="http://schemas.microsoft.com/office/drawing/2014/main" id="{6995F30A-7320-3392-5A98-6982F2F62960}"/>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06" name="Freeform 330">
              <a:extLst>
                <a:ext uri="{FF2B5EF4-FFF2-40B4-BE49-F238E27FC236}">
                  <a16:creationId xmlns:a16="http://schemas.microsoft.com/office/drawing/2014/main" id="{0B6EF437-CA82-EE5C-90F6-514B9B9763BB}"/>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sp>
        <p:nvSpPr>
          <p:cNvPr id="207" name="Rectangle: Rounded Corners 8">
            <a:extLst>
              <a:ext uri="{FF2B5EF4-FFF2-40B4-BE49-F238E27FC236}">
                <a16:creationId xmlns:a16="http://schemas.microsoft.com/office/drawing/2014/main" id="{33DD7F3A-750C-AEBB-134B-163A4A872042}"/>
              </a:ext>
            </a:extLst>
          </p:cNvPr>
          <p:cNvSpPr/>
          <p:nvPr/>
        </p:nvSpPr>
        <p:spPr>
          <a:xfrm>
            <a:off x="6358325" y="4636346"/>
            <a:ext cx="1692000" cy="446062"/>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08" name="Rectangle: Rounded Corners 207">
            <a:extLst>
              <a:ext uri="{FF2B5EF4-FFF2-40B4-BE49-F238E27FC236}">
                <a16:creationId xmlns:a16="http://schemas.microsoft.com/office/drawing/2014/main" id="{E7BA118B-5CAA-D995-6865-0BC149445F3B}"/>
              </a:ext>
            </a:extLst>
          </p:cNvPr>
          <p:cNvSpPr/>
          <p:nvPr/>
        </p:nvSpPr>
        <p:spPr>
          <a:xfrm>
            <a:off x="6366435" y="1772111"/>
            <a:ext cx="1692000" cy="369161"/>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09" name="Rectangle: Rounded Corners 208">
            <a:extLst>
              <a:ext uri="{FF2B5EF4-FFF2-40B4-BE49-F238E27FC236}">
                <a16:creationId xmlns:a16="http://schemas.microsoft.com/office/drawing/2014/main" id="{D434CEEE-C35D-6CFC-C4E3-6B8122FC55F7}"/>
              </a:ext>
            </a:extLst>
          </p:cNvPr>
          <p:cNvSpPr/>
          <p:nvPr/>
        </p:nvSpPr>
        <p:spPr>
          <a:xfrm>
            <a:off x="6366435" y="2206780"/>
            <a:ext cx="1692000" cy="388386"/>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10" name="Rectangle: Rounded Corners 209">
            <a:extLst>
              <a:ext uri="{FF2B5EF4-FFF2-40B4-BE49-F238E27FC236}">
                <a16:creationId xmlns:a16="http://schemas.microsoft.com/office/drawing/2014/main" id="{846EA954-711C-BBB5-A61D-C89C8871EFE7}"/>
              </a:ext>
            </a:extLst>
          </p:cNvPr>
          <p:cNvSpPr/>
          <p:nvPr/>
        </p:nvSpPr>
        <p:spPr>
          <a:xfrm>
            <a:off x="6367603" y="2660519"/>
            <a:ext cx="1692000" cy="446062"/>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11" name="Rectangle: Rounded Corners 210">
            <a:extLst>
              <a:ext uri="{FF2B5EF4-FFF2-40B4-BE49-F238E27FC236}">
                <a16:creationId xmlns:a16="http://schemas.microsoft.com/office/drawing/2014/main" id="{0C687ACB-0407-5EA7-B780-06188FE6FB50}"/>
              </a:ext>
            </a:extLst>
          </p:cNvPr>
          <p:cNvSpPr/>
          <p:nvPr/>
        </p:nvSpPr>
        <p:spPr>
          <a:xfrm>
            <a:off x="6367603" y="3643038"/>
            <a:ext cx="1692000" cy="446062"/>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12" name="Rectangle: Rounded Corners 211">
            <a:extLst>
              <a:ext uri="{FF2B5EF4-FFF2-40B4-BE49-F238E27FC236}">
                <a16:creationId xmlns:a16="http://schemas.microsoft.com/office/drawing/2014/main" id="{2B0CFD3A-B3D5-9C99-A8D9-852206F11731}"/>
              </a:ext>
            </a:extLst>
          </p:cNvPr>
          <p:cNvSpPr/>
          <p:nvPr/>
        </p:nvSpPr>
        <p:spPr>
          <a:xfrm>
            <a:off x="6358325" y="4135303"/>
            <a:ext cx="1692000" cy="446062"/>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13" name="TextBox 212">
            <a:extLst>
              <a:ext uri="{FF2B5EF4-FFF2-40B4-BE49-F238E27FC236}">
                <a16:creationId xmlns:a16="http://schemas.microsoft.com/office/drawing/2014/main" id="{47902357-5ED3-0FA3-DFF9-2F25C9D14A17}"/>
              </a:ext>
            </a:extLst>
          </p:cNvPr>
          <p:cNvSpPr txBox="1"/>
          <p:nvPr/>
        </p:nvSpPr>
        <p:spPr>
          <a:xfrm>
            <a:off x="6542866" y="1824434"/>
            <a:ext cx="1741731" cy="230832"/>
          </a:xfrm>
          <a:prstGeom prst="rect">
            <a:avLst/>
          </a:prstGeom>
          <a:noFill/>
        </p:spPr>
        <p:txBody>
          <a:bodyPr wrap="square" rtlCol="0">
            <a:spAutoFit/>
          </a:bodyPr>
          <a:lstStyle/>
          <a:p>
            <a:r>
              <a:rPr lang="en-US" sz="900">
                <a:latin typeface="+mj-lt"/>
              </a:rPr>
              <a:t>Software Engineers</a:t>
            </a:r>
          </a:p>
        </p:txBody>
      </p:sp>
      <p:sp>
        <p:nvSpPr>
          <p:cNvPr id="214" name="TextBox 213">
            <a:extLst>
              <a:ext uri="{FF2B5EF4-FFF2-40B4-BE49-F238E27FC236}">
                <a16:creationId xmlns:a16="http://schemas.microsoft.com/office/drawing/2014/main" id="{A4B5D2FB-E0E3-86E7-728D-E5F5112C7EB4}"/>
              </a:ext>
            </a:extLst>
          </p:cNvPr>
          <p:cNvSpPr txBox="1"/>
          <p:nvPr/>
        </p:nvSpPr>
        <p:spPr>
          <a:xfrm>
            <a:off x="6530840" y="2280702"/>
            <a:ext cx="1944823" cy="230832"/>
          </a:xfrm>
          <a:prstGeom prst="rect">
            <a:avLst/>
          </a:prstGeom>
          <a:noFill/>
        </p:spPr>
        <p:txBody>
          <a:bodyPr wrap="square" rtlCol="0">
            <a:spAutoFit/>
          </a:bodyPr>
          <a:lstStyle/>
          <a:p>
            <a:r>
              <a:rPr lang="en-US" sz="900">
                <a:latin typeface="+mj-lt"/>
              </a:rPr>
              <a:t>Software Engineer</a:t>
            </a:r>
          </a:p>
        </p:txBody>
      </p:sp>
      <p:sp>
        <p:nvSpPr>
          <p:cNvPr id="215" name="TextBox 214">
            <a:extLst>
              <a:ext uri="{FF2B5EF4-FFF2-40B4-BE49-F238E27FC236}">
                <a16:creationId xmlns:a16="http://schemas.microsoft.com/office/drawing/2014/main" id="{9F08A44A-0153-58C1-A432-7AA7F75E27C2}"/>
              </a:ext>
            </a:extLst>
          </p:cNvPr>
          <p:cNvSpPr txBox="1"/>
          <p:nvPr/>
        </p:nvSpPr>
        <p:spPr>
          <a:xfrm>
            <a:off x="6542866" y="2747174"/>
            <a:ext cx="1865622" cy="230832"/>
          </a:xfrm>
          <a:prstGeom prst="rect">
            <a:avLst/>
          </a:prstGeom>
          <a:noFill/>
        </p:spPr>
        <p:txBody>
          <a:bodyPr wrap="square" rtlCol="0">
            <a:spAutoFit/>
          </a:bodyPr>
          <a:lstStyle/>
          <a:p>
            <a:r>
              <a:rPr lang="en-US" sz="900">
                <a:latin typeface="+mj-lt"/>
              </a:rPr>
              <a:t>Software Engineer</a:t>
            </a:r>
          </a:p>
        </p:txBody>
      </p:sp>
      <p:sp>
        <p:nvSpPr>
          <p:cNvPr id="216" name="Rectangle: Rounded Corners 215">
            <a:extLst>
              <a:ext uri="{FF2B5EF4-FFF2-40B4-BE49-F238E27FC236}">
                <a16:creationId xmlns:a16="http://schemas.microsoft.com/office/drawing/2014/main" id="{392CE0C8-37D0-8034-3B47-E91333BB42A1}"/>
              </a:ext>
            </a:extLst>
          </p:cNvPr>
          <p:cNvSpPr/>
          <p:nvPr/>
        </p:nvSpPr>
        <p:spPr>
          <a:xfrm>
            <a:off x="6360981" y="3159979"/>
            <a:ext cx="1692000" cy="446062"/>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17" name="TextBox 216">
            <a:extLst>
              <a:ext uri="{FF2B5EF4-FFF2-40B4-BE49-F238E27FC236}">
                <a16:creationId xmlns:a16="http://schemas.microsoft.com/office/drawing/2014/main" id="{474FF4EB-3C49-7DAE-AD35-82771FFDEABE}"/>
              </a:ext>
            </a:extLst>
          </p:cNvPr>
          <p:cNvSpPr txBox="1"/>
          <p:nvPr/>
        </p:nvSpPr>
        <p:spPr>
          <a:xfrm>
            <a:off x="6531966" y="3256912"/>
            <a:ext cx="2057876" cy="230832"/>
          </a:xfrm>
          <a:prstGeom prst="rect">
            <a:avLst/>
          </a:prstGeom>
          <a:noFill/>
        </p:spPr>
        <p:txBody>
          <a:bodyPr wrap="square" lIns="91440" tIns="45720" rIns="91440" bIns="45720" rtlCol="0" anchor="t">
            <a:spAutoFit/>
          </a:bodyPr>
          <a:lstStyle/>
          <a:p>
            <a:r>
              <a:rPr lang="en-US" sz="900">
                <a:latin typeface="+mj-lt"/>
              </a:rPr>
              <a:t>Software Engineer</a:t>
            </a:r>
          </a:p>
        </p:txBody>
      </p:sp>
      <p:sp>
        <p:nvSpPr>
          <p:cNvPr id="218" name="TextBox 217">
            <a:extLst>
              <a:ext uri="{FF2B5EF4-FFF2-40B4-BE49-F238E27FC236}">
                <a16:creationId xmlns:a16="http://schemas.microsoft.com/office/drawing/2014/main" id="{C40C1650-2A40-DE1E-D4C2-D55B54386AB8}"/>
              </a:ext>
            </a:extLst>
          </p:cNvPr>
          <p:cNvSpPr txBox="1"/>
          <p:nvPr/>
        </p:nvSpPr>
        <p:spPr>
          <a:xfrm>
            <a:off x="6536037" y="3715612"/>
            <a:ext cx="2057876" cy="230832"/>
          </a:xfrm>
          <a:prstGeom prst="rect">
            <a:avLst/>
          </a:prstGeom>
          <a:noFill/>
        </p:spPr>
        <p:txBody>
          <a:bodyPr wrap="square" lIns="91440" tIns="45720" rIns="91440" bIns="45720" rtlCol="0" anchor="t">
            <a:spAutoFit/>
          </a:bodyPr>
          <a:lstStyle/>
          <a:p>
            <a:r>
              <a:rPr lang="en-US" sz="900">
                <a:latin typeface="+mj-lt"/>
              </a:rPr>
              <a:t>QA Engineers</a:t>
            </a:r>
          </a:p>
        </p:txBody>
      </p:sp>
      <p:sp>
        <p:nvSpPr>
          <p:cNvPr id="219" name="TextBox 218">
            <a:extLst>
              <a:ext uri="{FF2B5EF4-FFF2-40B4-BE49-F238E27FC236}">
                <a16:creationId xmlns:a16="http://schemas.microsoft.com/office/drawing/2014/main" id="{FFAF2D4F-E05D-E8ED-4842-6FEA54EF8825}"/>
              </a:ext>
            </a:extLst>
          </p:cNvPr>
          <p:cNvSpPr txBox="1"/>
          <p:nvPr/>
        </p:nvSpPr>
        <p:spPr>
          <a:xfrm>
            <a:off x="6529419" y="4225133"/>
            <a:ext cx="2057876" cy="230832"/>
          </a:xfrm>
          <a:prstGeom prst="rect">
            <a:avLst/>
          </a:prstGeom>
          <a:noFill/>
        </p:spPr>
        <p:txBody>
          <a:bodyPr wrap="square" lIns="91440" tIns="45720" rIns="91440" bIns="45720" rtlCol="0" anchor="t">
            <a:spAutoFit/>
          </a:bodyPr>
          <a:lstStyle/>
          <a:p>
            <a:r>
              <a:rPr lang="en-US" sz="900">
                <a:latin typeface="+mj-lt"/>
              </a:rPr>
              <a:t>QA Engineers</a:t>
            </a:r>
          </a:p>
        </p:txBody>
      </p:sp>
      <p:sp>
        <p:nvSpPr>
          <p:cNvPr id="220" name="TextBox 219">
            <a:extLst>
              <a:ext uri="{FF2B5EF4-FFF2-40B4-BE49-F238E27FC236}">
                <a16:creationId xmlns:a16="http://schemas.microsoft.com/office/drawing/2014/main" id="{07002E3F-14D7-A4DC-E5A0-322F6E74369C}"/>
              </a:ext>
            </a:extLst>
          </p:cNvPr>
          <p:cNvSpPr txBox="1"/>
          <p:nvPr/>
        </p:nvSpPr>
        <p:spPr>
          <a:xfrm>
            <a:off x="6525340" y="4709380"/>
            <a:ext cx="2057876" cy="230832"/>
          </a:xfrm>
          <a:prstGeom prst="rect">
            <a:avLst/>
          </a:prstGeom>
          <a:noFill/>
        </p:spPr>
        <p:txBody>
          <a:bodyPr wrap="square" lIns="91440" tIns="45720" rIns="91440" bIns="45720" rtlCol="0" anchor="t">
            <a:spAutoFit/>
          </a:bodyPr>
          <a:lstStyle/>
          <a:p>
            <a:r>
              <a:rPr lang="en-US" sz="900">
                <a:latin typeface="+mj-lt"/>
              </a:rPr>
              <a:t>Data engineers</a:t>
            </a:r>
          </a:p>
        </p:txBody>
      </p:sp>
      <p:grpSp>
        <p:nvGrpSpPr>
          <p:cNvPr id="221" name="Group 220">
            <a:extLst>
              <a:ext uri="{FF2B5EF4-FFF2-40B4-BE49-F238E27FC236}">
                <a16:creationId xmlns:a16="http://schemas.microsoft.com/office/drawing/2014/main" id="{5737D9E9-2D5E-0339-AF08-8C766ABE2A2A}"/>
              </a:ext>
            </a:extLst>
          </p:cNvPr>
          <p:cNvGrpSpPr/>
          <p:nvPr/>
        </p:nvGrpSpPr>
        <p:grpSpPr>
          <a:xfrm>
            <a:off x="1481738" y="1062629"/>
            <a:ext cx="9611530" cy="336068"/>
            <a:chOff x="1379692" y="655954"/>
            <a:chExt cx="10296000" cy="375490"/>
          </a:xfrm>
        </p:grpSpPr>
        <p:grpSp>
          <p:nvGrpSpPr>
            <p:cNvPr id="222" name="Group 221">
              <a:extLst>
                <a:ext uri="{FF2B5EF4-FFF2-40B4-BE49-F238E27FC236}">
                  <a16:creationId xmlns:a16="http://schemas.microsoft.com/office/drawing/2014/main" id="{0C86DDB2-62E0-BD2A-BA9C-7FD218C2C394}"/>
                </a:ext>
              </a:extLst>
            </p:cNvPr>
            <p:cNvGrpSpPr/>
            <p:nvPr/>
          </p:nvGrpSpPr>
          <p:grpSpPr>
            <a:xfrm>
              <a:off x="1379692" y="669829"/>
              <a:ext cx="10296000" cy="360000"/>
              <a:chOff x="1402411" y="998692"/>
              <a:chExt cx="8494044" cy="477827"/>
            </a:xfrm>
            <a:solidFill>
              <a:schemeClr val="accent2">
                <a:lumMod val="75000"/>
              </a:schemeClr>
            </a:solidFill>
          </p:grpSpPr>
          <p:sp>
            <p:nvSpPr>
              <p:cNvPr id="236" name="Rectangle: Rounded Corners 235">
                <a:extLst>
                  <a:ext uri="{FF2B5EF4-FFF2-40B4-BE49-F238E27FC236}">
                    <a16:creationId xmlns:a16="http://schemas.microsoft.com/office/drawing/2014/main" id="{49A9EC1D-2921-6A1E-EDA9-B4A24012C292}"/>
                  </a:ext>
                </a:extLst>
              </p:cNvPr>
              <p:cNvSpPr/>
              <p:nvPr/>
            </p:nvSpPr>
            <p:spPr>
              <a:xfrm>
                <a:off x="1402411" y="998692"/>
                <a:ext cx="8494044" cy="477827"/>
              </a:xfrm>
              <a:prstGeom prst="roundRect">
                <a:avLst>
                  <a:gd name="adj" fmla="val 0"/>
                </a:avLst>
              </a:prstGeom>
              <a:solidFill>
                <a:schemeClr val="tx2"/>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mj-lt"/>
                  <a:ea typeface="+mn-ea"/>
                  <a:cs typeface="+mn-cs"/>
                </a:endParaRPr>
              </a:p>
            </p:txBody>
          </p:sp>
          <p:sp>
            <p:nvSpPr>
              <p:cNvPr id="237" name="TextBox 236">
                <a:extLst>
                  <a:ext uri="{FF2B5EF4-FFF2-40B4-BE49-F238E27FC236}">
                    <a16:creationId xmlns:a16="http://schemas.microsoft.com/office/drawing/2014/main" id="{81E070CA-53A2-6D58-A187-72296BAC218A}"/>
                  </a:ext>
                </a:extLst>
              </p:cNvPr>
              <p:cNvSpPr txBox="1"/>
              <p:nvPr/>
            </p:nvSpPr>
            <p:spPr>
              <a:xfrm>
                <a:off x="2036693" y="1051585"/>
                <a:ext cx="1731344" cy="319502"/>
              </a:xfrm>
              <a:prstGeom prst="rect">
                <a:avLst/>
              </a:prstGeom>
              <a:solidFill>
                <a:schemeClr val="tx2"/>
              </a:solidFill>
            </p:spPr>
            <p:txBody>
              <a:bodyPr wrap="square" rtlCol="0">
                <a:spAutoFit/>
              </a:bodyPr>
              <a:lstStyle/>
              <a:p>
                <a:pPr algn="ctr"/>
                <a:r>
                  <a:rPr lang="en-US" sz="800" b="1">
                    <a:solidFill>
                      <a:schemeClr val="bg1"/>
                    </a:solidFill>
                    <a:latin typeface="+mj-lt"/>
                  </a:rPr>
                  <a:t>GE Product Owner</a:t>
                </a:r>
              </a:p>
            </p:txBody>
          </p:sp>
          <p:sp>
            <p:nvSpPr>
              <p:cNvPr id="238" name="TextBox 237">
                <a:extLst>
                  <a:ext uri="{FF2B5EF4-FFF2-40B4-BE49-F238E27FC236}">
                    <a16:creationId xmlns:a16="http://schemas.microsoft.com/office/drawing/2014/main" id="{9E306F7A-3195-CED9-581F-6A2B456D55BC}"/>
                  </a:ext>
                </a:extLst>
              </p:cNvPr>
              <p:cNvSpPr txBox="1"/>
              <p:nvPr/>
            </p:nvSpPr>
            <p:spPr>
              <a:xfrm>
                <a:off x="4448147" y="1037800"/>
                <a:ext cx="2220446" cy="319502"/>
              </a:xfrm>
              <a:prstGeom prst="rect">
                <a:avLst/>
              </a:prstGeom>
              <a:solidFill>
                <a:schemeClr val="tx2"/>
              </a:solidFill>
            </p:spPr>
            <p:txBody>
              <a:bodyPr wrap="square" rtlCol="0">
                <a:spAutoFit/>
              </a:bodyPr>
              <a:lstStyle/>
              <a:p>
                <a:pPr algn="ctr"/>
                <a:r>
                  <a:rPr lang="en-US" sz="800" b="1">
                    <a:solidFill>
                      <a:schemeClr val="bg1"/>
                    </a:solidFill>
                    <a:latin typeface="+mj-lt"/>
                  </a:rPr>
                  <a:t>GE Application Architect</a:t>
                </a:r>
              </a:p>
            </p:txBody>
          </p:sp>
        </p:grpSp>
        <p:sp>
          <p:nvSpPr>
            <p:cNvPr id="223" name="TextBox 222">
              <a:extLst>
                <a:ext uri="{FF2B5EF4-FFF2-40B4-BE49-F238E27FC236}">
                  <a16:creationId xmlns:a16="http://schemas.microsoft.com/office/drawing/2014/main" id="{DF18DA56-79EE-59D5-DB64-82DA97C06909}"/>
                </a:ext>
              </a:extLst>
            </p:cNvPr>
            <p:cNvSpPr txBox="1"/>
            <p:nvPr/>
          </p:nvSpPr>
          <p:spPr>
            <a:xfrm>
              <a:off x="8934731" y="699892"/>
              <a:ext cx="2691499" cy="240716"/>
            </a:xfrm>
            <a:prstGeom prst="rect">
              <a:avLst/>
            </a:prstGeom>
            <a:solidFill>
              <a:schemeClr val="tx2"/>
            </a:solidFill>
          </p:spPr>
          <p:txBody>
            <a:bodyPr wrap="square" rtlCol="0">
              <a:spAutoFit/>
            </a:bodyPr>
            <a:lstStyle/>
            <a:p>
              <a:pPr algn="ctr"/>
              <a:r>
                <a:rPr lang="en-US" sz="800" b="1" dirty="0">
                  <a:solidFill>
                    <a:schemeClr val="bg1"/>
                  </a:solidFill>
                  <a:latin typeface="+mj-lt"/>
                </a:rPr>
                <a:t>GE Domain SME</a:t>
              </a:r>
            </a:p>
          </p:txBody>
        </p:sp>
        <p:grpSp>
          <p:nvGrpSpPr>
            <p:cNvPr id="224" name="Group 223">
              <a:extLst>
                <a:ext uri="{FF2B5EF4-FFF2-40B4-BE49-F238E27FC236}">
                  <a16:creationId xmlns:a16="http://schemas.microsoft.com/office/drawing/2014/main" id="{EAB19EB5-CD01-0C6E-FF29-7F41D6A04299}"/>
                </a:ext>
              </a:extLst>
            </p:cNvPr>
            <p:cNvGrpSpPr/>
            <p:nvPr/>
          </p:nvGrpSpPr>
          <p:grpSpPr>
            <a:xfrm>
              <a:off x="2101571" y="661255"/>
              <a:ext cx="368029" cy="370189"/>
              <a:chOff x="4983693" y="1073777"/>
              <a:chExt cx="368029" cy="370189"/>
            </a:xfrm>
          </p:grpSpPr>
          <p:sp>
            <p:nvSpPr>
              <p:cNvPr id="233" name="Freeform 326">
                <a:extLst>
                  <a:ext uri="{FF2B5EF4-FFF2-40B4-BE49-F238E27FC236}">
                    <a16:creationId xmlns:a16="http://schemas.microsoft.com/office/drawing/2014/main" id="{F2B6A2B1-0F5E-FC7E-E0C9-904B3C16AAA4}"/>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34" name="Freeform 329">
                <a:extLst>
                  <a:ext uri="{FF2B5EF4-FFF2-40B4-BE49-F238E27FC236}">
                    <a16:creationId xmlns:a16="http://schemas.microsoft.com/office/drawing/2014/main" id="{DEBE9BBC-86C0-77F4-73DC-4E0CDBF179FD}"/>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35" name="Freeform 330">
                <a:extLst>
                  <a:ext uri="{FF2B5EF4-FFF2-40B4-BE49-F238E27FC236}">
                    <a16:creationId xmlns:a16="http://schemas.microsoft.com/office/drawing/2014/main" id="{B3F1346B-4360-34CE-8B9B-A2652157C8D1}"/>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25" name="Group 224">
              <a:extLst>
                <a:ext uri="{FF2B5EF4-FFF2-40B4-BE49-F238E27FC236}">
                  <a16:creationId xmlns:a16="http://schemas.microsoft.com/office/drawing/2014/main" id="{E859EC64-F471-5B97-6E06-14B3F6E34B6D}"/>
                </a:ext>
              </a:extLst>
            </p:cNvPr>
            <p:cNvGrpSpPr/>
            <p:nvPr/>
          </p:nvGrpSpPr>
          <p:grpSpPr>
            <a:xfrm>
              <a:off x="5029030" y="655954"/>
              <a:ext cx="368029" cy="370189"/>
              <a:chOff x="4983693" y="1073777"/>
              <a:chExt cx="368029" cy="370189"/>
            </a:xfrm>
          </p:grpSpPr>
          <p:sp>
            <p:nvSpPr>
              <p:cNvPr id="230" name="Freeform 326">
                <a:extLst>
                  <a:ext uri="{FF2B5EF4-FFF2-40B4-BE49-F238E27FC236}">
                    <a16:creationId xmlns:a16="http://schemas.microsoft.com/office/drawing/2014/main" id="{B8D47B4C-9E84-1541-396D-39F2E08E767E}"/>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31" name="Freeform 329">
                <a:extLst>
                  <a:ext uri="{FF2B5EF4-FFF2-40B4-BE49-F238E27FC236}">
                    <a16:creationId xmlns:a16="http://schemas.microsoft.com/office/drawing/2014/main" id="{E32D2474-BE3F-2D4E-2CC7-D53809A23F3D}"/>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32" name="Freeform 330">
                <a:extLst>
                  <a:ext uri="{FF2B5EF4-FFF2-40B4-BE49-F238E27FC236}">
                    <a16:creationId xmlns:a16="http://schemas.microsoft.com/office/drawing/2014/main" id="{8E398508-0168-C3DE-E13B-755ED0E4E2F8}"/>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26" name="Group 225">
              <a:extLst>
                <a:ext uri="{FF2B5EF4-FFF2-40B4-BE49-F238E27FC236}">
                  <a16:creationId xmlns:a16="http://schemas.microsoft.com/office/drawing/2014/main" id="{C4B8F9A2-882C-264B-83E4-E63E47DED8AD}"/>
                </a:ext>
              </a:extLst>
            </p:cNvPr>
            <p:cNvGrpSpPr/>
            <p:nvPr/>
          </p:nvGrpSpPr>
          <p:grpSpPr>
            <a:xfrm>
              <a:off x="9177775" y="659196"/>
              <a:ext cx="368029" cy="370189"/>
              <a:chOff x="4983693" y="1073777"/>
              <a:chExt cx="368029" cy="370189"/>
            </a:xfrm>
          </p:grpSpPr>
          <p:sp>
            <p:nvSpPr>
              <p:cNvPr id="227" name="Freeform 326">
                <a:extLst>
                  <a:ext uri="{FF2B5EF4-FFF2-40B4-BE49-F238E27FC236}">
                    <a16:creationId xmlns:a16="http://schemas.microsoft.com/office/drawing/2014/main" id="{E9312503-5054-AAAC-FD7B-CFE38EF98A6B}"/>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28" name="Freeform 329">
                <a:extLst>
                  <a:ext uri="{FF2B5EF4-FFF2-40B4-BE49-F238E27FC236}">
                    <a16:creationId xmlns:a16="http://schemas.microsoft.com/office/drawing/2014/main" id="{581AC848-B2A9-38CF-C7A0-3ABE40F5295B}"/>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29" name="Freeform 330">
                <a:extLst>
                  <a:ext uri="{FF2B5EF4-FFF2-40B4-BE49-F238E27FC236}">
                    <a16:creationId xmlns:a16="http://schemas.microsoft.com/office/drawing/2014/main" id="{A0EA724F-7BE4-2FB2-2282-52A554672B89}"/>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sp>
        <p:nvSpPr>
          <p:cNvPr id="239" name="Rectangle: Rounded Corners 238">
            <a:extLst>
              <a:ext uri="{FF2B5EF4-FFF2-40B4-BE49-F238E27FC236}">
                <a16:creationId xmlns:a16="http://schemas.microsoft.com/office/drawing/2014/main" id="{22CCDF1B-C3E8-8C8A-45C7-1E7312C64C0F}"/>
              </a:ext>
            </a:extLst>
          </p:cNvPr>
          <p:cNvSpPr/>
          <p:nvPr/>
        </p:nvSpPr>
        <p:spPr>
          <a:xfrm>
            <a:off x="1485041" y="1414596"/>
            <a:ext cx="9611530" cy="289984"/>
          </a:xfrm>
          <a:prstGeom prst="roundRect">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2">
                  <a:lumMod val="50000"/>
                </a:schemeClr>
              </a:solidFill>
            </a:endParaRPr>
          </a:p>
        </p:txBody>
      </p:sp>
      <p:sp>
        <p:nvSpPr>
          <p:cNvPr id="240" name="TextBox 239">
            <a:extLst>
              <a:ext uri="{FF2B5EF4-FFF2-40B4-BE49-F238E27FC236}">
                <a16:creationId xmlns:a16="http://schemas.microsoft.com/office/drawing/2014/main" id="{5F953015-B7F9-F9EB-35B8-62B290762634}"/>
              </a:ext>
            </a:extLst>
          </p:cNvPr>
          <p:cNvSpPr txBox="1"/>
          <p:nvPr/>
        </p:nvSpPr>
        <p:spPr>
          <a:xfrm>
            <a:off x="4931475" y="1438330"/>
            <a:ext cx="3192641" cy="237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de-DE"/>
            </a:defPPr>
            <a:lvl1pPr algn="ctr">
              <a:defRPr sz="2400">
                <a:solidFill>
                  <a:schemeClr val="tx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000">
                <a:solidFill>
                  <a:schemeClr val="tx1"/>
                </a:solidFill>
              </a:rPr>
              <a:t>Scrum Master</a:t>
            </a:r>
          </a:p>
        </p:txBody>
      </p:sp>
      <p:sp>
        <p:nvSpPr>
          <p:cNvPr id="241" name="TextBox 240">
            <a:extLst>
              <a:ext uri="{FF2B5EF4-FFF2-40B4-BE49-F238E27FC236}">
                <a16:creationId xmlns:a16="http://schemas.microsoft.com/office/drawing/2014/main" id="{36E9D013-5D50-D45D-5F4E-0A355D4860D8}"/>
              </a:ext>
            </a:extLst>
          </p:cNvPr>
          <p:cNvSpPr txBox="1"/>
          <p:nvPr/>
        </p:nvSpPr>
        <p:spPr>
          <a:xfrm>
            <a:off x="8537827" y="1438813"/>
            <a:ext cx="2512570" cy="23703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de-DE"/>
            </a:defPPr>
            <a:lvl1pPr algn="ctr">
              <a:defRPr sz="2400">
                <a:solidFill>
                  <a:schemeClr val="tx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000">
                <a:solidFill>
                  <a:schemeClr val="tx1"/>
                </a:solidFill>
              </a:rPr>
              <a:t>Tech Lead</a:t>
            </a:r>
          </a:p>
        </p:txBody>
      </p:sp>
      <p:grpSp>
        <p:nvGrpSpPr>
          <p:cNvPr id="242" name="Group 241">
            <a:extLst>
              <a:ext uri="{FF2B5EF4-FFF2-40B4-BE49-F238E27FC236}">
                <a16:creationId xmlns:a16="http://schemas.microsoft.com/office/drawing/2014/main" id="{2D1728FC-22F6-1AE3-1496-04BE54FF5D13}"/>
              </a:ext>
            </a:extLst>
          </p:cNvPr>
          <p:cNvGrpSpPr/>
          <p:nvPr/>
        </p:nvGrpSpPr>
        <p:grpSpPr>
          <a:xfrm>
            <a:off x="2158930" y="1407690"/>
            <a:ext cx="343563" cy="298191"/>
            <a:chOff x="4983693" y="1073777"/>
            <a:chExt cx="368029" cy="370189"/>
          </a:xfrm>
          <a:solidFill>
            <a:schemeClr val="bg1">
              <a:lumMod val="65000"/>
            </a:schemeClr>
          </a:solidFill>
        </p:grpSpPr>
        <p:sp>
          <p:nvSpPr>
            <p:cNvPr id="243" name="Freeform 326">
              <a:extLst>
                <a:ext uri="{FF2B5EF4-FFF2-40B4-BE49-F238E27FC236}">
                  <a16:creationId xmlns:a16="http://schemas.microsoft.com/office/drawing/2014/main" id="{A6AFFE90-4F93-D6DC-8923-094C7EAA5815}"/>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2">
                    <a:lumMod val="50000"/>
                  </a:schemeClr>
                </a:solidFill>
              </a:endParaRPr>
            </a:p>
          </p:txBody>
        </p:sp>
        <p:sp>
          <p:nvSpPr>
            <p:cNvPr id="244" name="Freeform 329">
              <a:extLst>
                <a:ext uri="{FF2B5EF4-FFF2-40B4-BE49-F238E27FC236}">
                  <a16:creationId xmlns:a16="http://schemas.microsoft.com/office/drawing/2014/main" id="{4BE2B0F4-4CBA-40F5-2075-FDC7AAF3A796}"/>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2">
                    <a:lumMod val="50000"/>
                  </a:schemeClr>
                </a:solidFill>
              </a:endParaRPr>
            </a:p>
          </p:txBody>
        </p:sp>
        <p:sp>
          <p:nvSpPr>
            <p:cNvPr id="245" name="Freeform 330">
              <a:extLst>
                <a:ext uri="{FF2B5EF4-FFF2-40B4-BE49-F238E27FC236}">
                  <a16:creationId xmlns:a16="http://schemas.microsoft.com/office/drawing/2014/main" id="{4481F850-1CF5-4F6E-5DBF-ACFF149C9D8D}"/>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2">
                    <a:lumMod val="50000"/>
                  </a:schemeClr>
                </a:solidFill>
              </a:endParaRPr>
            </a:p>
          </p:txBody>
        </p:sp>
      </p:grpSp>
      <p:grpSp>
        <p:nvGrpSpPr>
          <p:cNvPr id="246" name="Group 245">
            <a:extLst>
              <a:ext uri="{FF2B5EF4-FFF2-40B4-BE49-F238E27FC236}">
                <a16:creationId xmlns:a16="http://schemas.microsoft.com/office/drawing/2014/main" id="{8AEBEEAE-4803-B6D6-38B7-30EE85A511D3}"/>
              </a:ext>
            </a:extLst>
          </p:cNvPr>
          <p:cNvGrpSpPr/>
          <p:nvPr/>
        </p:nvGrpSpPr>
        <p:grpSpPr>
          <a:xfrm>
            <a:off x="4891774" y="1403420"/>
            <a:ext cx="343563" cy="298191"/>
            <a:chOff x="4983693" y="1073777"/>
            <a:chExt cx="368029" cy="370189"/>
          </a:xfrm>
          <a:solidFill>
            <a:schemeClr val="bg1">
              <a:lumMod val="65000"/>
            </a:schemeClr>
          </a:solidFill>
        </p:grpSpPr>
        <p:sp>
          <p:nvSpPr>
            <p:cNvPr id="247" name="Freeform 326">
              <a:extLst>
                <a:ext uri="{FF2B5EF4-FFF2-40B4-BE49-F238E27FC236}">
                  <a16:creationId xmlns:a16="http://schemas.microsoft.com/office/drawing/2014/main" id="{7841CCCC-B9BB-C8E7-3029-941E56E3534C}"/>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2">
                    <a:lumMod val="50000"/>
                  </a:schemeClr>
                </a:solidFill>
              </a:endParaRPr>
            </a:p>
          </p:txBody>
        </p:sp>
        <p:sp>
          <p:nvSpPr>
            <p:cNvPr id="248" name="Freeform 329">
              <a:extLst>
                <a:ext uri="{FF2B5EF4-FFF2-40B4-BE49-F238E27FC236}">
                  <a16:creationId xmlns:a16="http://schemas.microsoft.com/office/drawing/2014/main" id="{3B0DFBB1-D997-A8DF-8832-470C3BC19BD1}"/>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2">
                    <a:lumMod val="50000"/>
                  </a:schemeClr>
                </a:solidFill>
              </a:endParaRPr>
            </a:p>
          </p:txBody>
        </p:sp>
        <p:sp>
          <p:nvSpPr>
            <p:cNvPr id="249" name="Freeform 330">
              <a:extLst>
                <a:ext uri="{FF2B5EF4-FFF2-40B4-BE49-F238E27FC236}">
                  <a16:creationId xmlns:a16="http://schemas.microsoft.com/office/drawing/2014/main" id="{5D229F59-8351-ABBC-8F56-3B537B95A3AE}"/>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2">
                    <a:lumMod val="50000"/>
                  </a:schemeClr>
                </a:solidFill>
              </a:endParaRPr>
            </a:p>
          </p:txBody>
        </p:sp>
      </p:grpSp>
      <p:grpSp>
        <p:nvGrpSpPr>
          <p:cNvPr id="250" name="Group 249">
            <a:extLst>
              <a:ext uri="{FF2B5EF4-FFF2-40B4-BE49-F238E27FC236}">
                <a16:creationId xmlns:a16="http://schemas.microsoft.com/office/drawing/2014/main" id="{EE29CA12-E749-A583-79CD-D89615717888}"/>
              </a:ext>
            </a:extLst>
          </p:cNvPr>
          <p:cNvGrpSpPr/>
          <p:nvPr/>
        </p:nvGrpSpPr>
        <p:grpSpPr>
          <a:xfrm>
            <a:off x="8764714" y="1406031"/>
            <a:ext cx="343563" cy="298191"/>
            <a:chOff x="4983693" y="1073777"/>
            <a:chExt cx="368029" cy="370189"/>
          </a:xfrm>
          <a:solidFill>
            <a:schemeClr val="bg1">
              <a:lumMod val="65000"/>
            </a:schemeClr>
          </a:solidFill>
        </p:grpSpPr>
        <p:sp>
          <p:nvSpPr>
            <p:cNvPr id="251" name="Freeform 326">
              <a:extLst>
                <a:ext uri="{FF2B5EF4-FFF2-40B4-BE49-F238E27FC236}">
                  <a16:creationId xmlns:a16="http://schemas.microsoft.com/office/drawing/2014/main" id="{3CB77B34-6626-837D-96B3-C24620685C9F}"/>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2">
                    <a:lumMod val="50000"/>
                  </a:schemeClr>
                </a:solidFill>
              </a:endParaRPr>
            </a:p>
          </p:txBody>
        </p:sp>
        <p:sp>
          <p:nvSpPr>
            <p:cNvPr id="252" name="Freeform 329">
              <a:extLst>
                <a:ext uri="{FF2B5EF4-FFF2-40B4-BE49-F238E27FC236}">
                  <a16:creationId xmlns:a16="http://schemas.microsoft.com/office/drawing/2014/main" id="{00B883DF-AF03-831D-DEC0-4386583DB84B}"/>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2">
                    <a:lumMod val="50000"/>
                  </a:schemeClr>
                </a:solidFill>
              </a:endParaRPr>
            </a:p>
          </p:txBody>
        </p:sp>
        <p:sp>
          <p:nvSpPr>
            <p:cNvPr id="253" name="Freeform 330">
              <a:extLst>
                <a:ext uri="{FF2B5EF4-FFF2-40B4-BE49-F238E27FC236}">
                  <a16:creationId xmlns:a16="http://schemas.microsoft.com/office/drawing/2014/main" id="{C12A882B-97A8-C065-F957-3E594155389F}"/>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2">
                    <a:lumMod val="50000"/>
                  </a:schemeClr>
                </a:solidFill>
              </a:endParaRPr>
            </a:p>
          </p:txBody>
        </p:sp>
      </p:grpSp>
      <p:sp>
        <p:nvSpPr>
          <p:cNvPr id="254" name="Freeform 326">
            <a:extLst>
              <a:ext uri="{FF2B5EF4-FFF2-40B4-BE49-F238E27FC236}">
                <a16:creationId xmlns:a16="http://schemas.microsoft.com/office/drawing/2014/main" id="{CA201D58-F31C-A50A-0E34-4A0D356F001D}"/>
              </a:ext>
            </a:extLst>
          </p:cNvPr>
          <p:cNvSpPr>
            <a:spLocks/>
          </p:cNvSpPr>
          <p:nvPr/>
        </p:nvSpPr>
        <p:spPr bwMode="auto">
          <a:xfrm>
            <a:off x="4912267" y="1379652"/>
            <a:ext cx="343563" cy="34557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55" name="Freeform 329">
            <a:extLst>
              <a:ext uri="{FF2B5EF4-FFF2-40B4-BE49-F238E27FC236}">
                <a16:creationId xmlns:a16="http://schemas.microsoft.com/office/drawing/2014/main" id="{85A793CD-F67F-7D95-4538-E45C5C3F745B}"/>
              </a:ext>
            </a:extLst>
          </p:cNvPr>
          <p:cNvSpPr>
            <a:spLocks/>
          </p:cNvSpPr>
          <p:nvPr/>
        </p:nvSpPr>
        <p:spPr bwMode="auto">
          <a:xfrm>
            <a:off x="5035259" y="1434002"/>
            <a:ext cx="89558" cy="102945"/>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56" name="Freeform 330">
            <a:extLst>
              <a:ext uri="{FF2B5EF4-FFF2-40B4-BE49-F238E27FC236}">
                <a16:creationId xmlns:a16="http://schemas.microsoft.com/office/drawing/2014/main" id="{E8427668-4EEE-5695-8B13-D58440B10C7A}"/>
              </a:ext>
            </a:extLst>
          </p:cNvPr>
          <p:cNvSpPr>
            <a:spLocks/>
          </p:cNvSpPr>
          <p:nvPr/>
        </p:nvSpPr>
        <p:spPr bwMode="auto">
          <a:xfrm>
            <a:off x="5004660" y="1544669"/>
            <a:ext cx="163675" cy="116229"/>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nvGrpSpPr>
          <p:cNvPr id="257" name="Group 256">
            <a:extLst>
              <a:ext uri="{FF2B5EF4-FFF2-40B4-BE49-F238E27FC236}">
                <a16:creationId xmlns:a16="http://schemas.microsoft.com/office/drawing/2014/main" id="{7192DC66-D462-1C39-BA8E-0D5C58FC6A25}"/>
              </a:ext>
            </a:extLst>
          </p:cNvPr>
          <p:cNvGrpSpPr/>
          <p:nvPr/>
        </p:nvGrpSpPr>
        <p:grpSpPr>
          <a:xfrm>
            <a:off x="8787063" y="1381551"/>
            <a:ext cx="343563" cy="345579"/>
            <a:chOff x="4983693" y="1073777"/>
            <a:chExt cx="368029" cy="370189"/>
          </a:xfrm>
        </p:grpSpPr>
        <p:sp>
          <p:nvSpPr>
            <p:cNvPr id="258" name="Freeform 326">
              <a:extLst>
                <a:ext uri="{FF2B5EF4-FFF2-40B4-BE49-F238E27FC236}">
                  <a16:creationId xmlns:a16="http://schemas.microsoft.com/office/drawing/2014/main" id="{35B2D3C1-A0D9-D50C-C335-71FC5AAF49FC}"/>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59" name="Freeform 329">
              <a:extLst>
                <a:ext uri="{FF2B5EF4-FFF2-40B4-BE49-F238E27FC236}">
                  <a16:creationId xmlns:a16="http://schemas.microsoft.com/office/drawing/2014/main" id="{CF07ECE9-C699-4D38-5DAE-F68F7772209A}"/>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60" name="Freeform 330">
              <a:extLst>
                <a:ext uri="{FF2B5EF4-FFF2-40B4-BE49-F238E27FC236}">
                  <a16:creationId xmlns:a16="http://schemas.microsoft.com/office/drawing/2014/main" id="{7D5EC058-C280-89DC-1A8E-B3C79CE33D1E}"/>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sp>
        <p:nvSpPr>
          <p:cNvPr id="261" name="TextBox 260">
            <a:extLst>
              <a:ext uri="{FF2B5EF4-FFF2-40B4-BE49-F238E27FC236}">
                <a16:creationId xmlns:a16="http://schemas.microsoft.com/office/drawing/2014/main" id="{20F1792A-4F03-8F93-09BB-65FF8A80A072}"/>
              </a:ext>
            </a:extLst>
          </p:cNvPr>
          <p:cNvSpPr txBox="1"/>
          <p:nvPr/>
        </p:nvSpPr>
        <p:spPr>
          <a:xfrm>
            <a:off x="1926360" y="4387756"/>
            <a:ext cx="1290738" cy="215444"/>
          </a:xfrm>
          <a:prstGeom prst="rect">
            <a:avLst/>
          </a:prstGeom>
          <a:solidFill>
            <a:srgbClr val="0F999C"/>
          </a:solidFill>
        </p:spPr>
        <p:txBody>
          <a:bodyPr wrap="none" rtlCol="0">
            <a:spAutoFit/>
          </a:bodyPr>
          <a:lstStyle/>
          <a:p>
            <a:r>
              <a:rPr lang="en-IN" sz="800" b="1">
                <a:solidFill>
                  <a:schemeClr val="bg1"/>
                </a:solidFill>
              </a:rPr>
              <a:t>Collaborative Work</a:t>
            </a:r>
          </a:p>
        </p:txBody>
      </p:sp>
      <p:sp>
        <p:nvSpPr>
          <p:cNvPr id="262" name="Arrow: Pentagon 96">
            <a:extLst>
              <a:ext uri="{FF2B5EF4-FFF2-40B4-BE49-F238E27FC236}">
                <a16:creationId xmlns:a16="http://schemas.microsoft.com/office/drawing/2014/main" id="{F69DB9C2-378D-432A-6152-31CD9B64189F}"/>
              </a:ext>
            </a:extLst>
          </p:cNvPr>
          <p:cNvSpPr>
            <a:spLocks/>
          </p:cNvSpPr>
          <p:nvPr/>
        </p:nvSpPr>
        <p:spPr>
          <a:xfrm>
            <a:off x="1486931" y="4142294"/>
            <a:ext cx="2325984" cy="221444"/>
          </a:xfrm>
          <a:prstGeom prst="homePlate">
            <a:avLst/>
          </a:prstGeom>
          <a:solidFill>
            <a:srgbClr val="8EC63E"/>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en-US" sz="900" b="1" kern="0">
                <a:latin typeface="Verdana"/>
              </a:rPr>
              <a:t>Shared POD</a:t>
            </a:r>
          </a:p>
        </p:txBody>
      </p:sp>
      <p:sp>
        <p:nvSpPr>
          <p:cNvPr id="263" name="Arrow: Pentagon 51">
            <a:extLst>
              <a:ext uri="{FF2B5EF4-FFF2-40B4-BE49-F238E27FC236}">
                <a16:creationId xmlns:a16="http://schemas.microsoft.com/office/drawing/2014/main" id="{897069D8-1B44-74E1-55AA-CC23ECD41A43}"/>
              </a:ext>
            </a:extLst>
          </p:cNvPr>
          <p:cNvSpPr/>
          <p:nvPr/>
        </p:nvSpPr>
        <p:spPr>
          <a:xfrm>
            <a:off x="8777709" y="5136009"/>
            <a:ext cx="2304000" cy="225376"/>
          </a:xfrm>
          <a:prstGeom prst="homePlate">
            <a:avLst/>
          </a:prstGeom>
          <a:solidFill>
            <a:srgbClr val="8EC63E"/>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effectLst/>
                <a:uLnTx/>
                <a:uFillTx/>
                <a:latin typeface="Verdana"/>
                <a:ea typeface="+mn-ea"/>
                <a:cs typeface="+mn-cs"/>
              </a:rPr>
              <a:t>POD n</a:t>
            </a:r>
          </a:p>
        </p:txBody>
      </p:sp>
      <p:sp>
        <p:nvSpPr>
          <p:cNvPr id="264" name="Arrow: Pentagon 96">
            <a:extLst>
              <a:ext uri="{FF2B5EF4-FFF2-40B4-BE49-F238E27FC236}">
                <a16:creationId xmlns:a16="http://schemas.microsoft.com/office/drawing/2014/main" id="{8B95ED36-9FC1-8505-9EF0-00CC21326F44}"/>
              </a:ext>
            </a:extLst>
          </p:cNvPr>
          <p:cNvSpPr>
            <a:spLocks/>
          </p:cNvSpPr>
          <p:nvPr/>
        </p:nvSpPr>
        <p:spPr>
          <a:xfrm>
            <a:off x="6294357" y="5136009"/>
            <a:ext cx="2304000" cy="219841"/>
          </a:xfrm>
          <a:prstGeom prst="homePlate">
            <a:avLst/>
          </a:prstGeom>
          <a:solidFill>
            <a:srgbClr val="8EC63E"/>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en-US" sz="900" b="1" kern="0">
                <a:latin typeface="Verdana"/>
              </a:rPr>
              <a:t>POD 2</a:t>
            </a:r>
          </a:p>
        </p:txBody>
      </p:sp>
      <p:sp>
        <p:nvSpPr>
          <p:cNvPr id="265" name="Rectangle 264">
            <a:extLst>
              <a:ext uri="{FF2B5EF4-FFF2-40B4-BE49-F238E27FC236}">
                <a16:creationId xmlns:a16="http://schemas.microsoft.com/office/drawing/2014/main" id="{D2C602B2-1A32-477B-AED4-C7CBB7225F8E}"/>
              </a:ext>
            </a:extLst>
          </p:cNvPr>
          <p:cNvSpPr/>
          <p:nvPr/>
        </p:nvSpPr>
        <p:spPr>
          <a:xfrm>
            <a:off x="5629412" y="1715902"/>
            <a:ext cx="540000" cy="33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grpSp>
        <p:nvGrpSpPr>
          <p:cNvPr id="267" name="Group 266">
            <a:extLst>
              <a:ext uri="{FF2B5EF4-FFF2-40B4-BE49-F238E27FC236}">
                <a16:creationId xmlns:a16="http://schemas.microsoft.com/office/drawing/2014/main" id="{8E965935-A4F3-1116-97F4-EDF352C80C44}"/>
              </a:ext>
            </a:extLst>
          </p:cNvPr>
          <p:cNvGrpSpPr/>
          <p:nvPr/>
        </p:nvGrpSpPr>
        <p:grpSpPr>
          <a:xfrm>
            <a:off x="5806285" y="4693445"/>
            <a:ext cx="299148" cy="345579"/>
            <a:chOff x="4983693" y="1073777"/>
            <a:chExt cx="368029" cy="370189"/>
          </a:xfrm>
        </p:grpSpPr>
        <p:sp>
          <p:nvSpPr>
            <p:cNvPr id="268" name="Freeform 326">
              <a:extLst>
                <a:ext uri="{FF2B5EF4-FFF2-40B4-BE49-F238E27FC236}">
                  <a16:creationId xmlns:a16="http://schemas.microsoft.com/office/drawing/2014/main" id="{FE5FDCFE-7FD8-B22B-C421-EEB532E6C3F5}"/>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69" name="Freeform 329">
              <a:extLst>
                <a:ext uri="{FF2B5EF4-FFF2-40B4-BE49-F238E27FC236}">
                  <a16:creationId xmlns:a16="http://schemas.microsoft.com/office/drawing/2014/main" id="{27D6F8D2-889A-4441-B18B-D8FCE70E8E25}"/>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70" name="Freeform 330">
              <a:extLst>
                <a:ext uri="{FF2B5EF4-FFF2-40B4-BE49-F238E27FC236}">
                  <a16:creationId xmlns:a16="http://schemas.microsoft.com/office/drawing/2014/main" id="{549647EC-C0E1-6C0C-1355-FADCB0BCBBEF}"/>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71" name="Group 270">
            <a:extLst>
              <a:ext uri="{FF2B5EF4-FFF2-40B4-BE49-F238E27FC236}">
                <a16:creationId xmlns:a16="http://schemas.microsoft.com/office/drawing/2014/main" id="{84A1E804-345C-2BDF-5EC1-3F2013394885}"/>
              </a:ext>
            </a:extLst>
          </p:cNvPr>
          <p:cNvGrpSpPr/>
          <p:nvPr/>
        </p:nvGrpSpPr>
        <p:grpSpPr>
          <a:xfrm>
            <a:off x="5808836" y="4180581"/>
            <a:ext cx="299148" cy="345579"/>
            <a:chOff x="4983693" y="1073777"/>
            <a:chExt cx="368029" cy="370189"/>
          </a:xfrm>
        </p:grpSpPr>
        <p:sp>
          <p:nvSpPr>
            <p:cNvPr id="272" name="Freeform 326">
              <a:extLst>
                <a:ext uri="{FF2B5EF4-FFF2-40B4-BE49-F238E27FC236}">
                  <a16:creationId xmlns:a16="http://schemas.microsoft.com/office/drawing/2014/main" id="{5BA31967-59DE-19E8-243A-94346C3A42D3}"/>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73" name="Freeform 329">
              <a:extLst>
                <a:ext uri="{FF2B5EF4-FFF2-40B4-BE49-F238E27FC236}">
                  <a16:creationId xmlns:a16="http://schemas.microsoft.com/office/drawing/2014/main" id="{915B1602-F584-D33A-AB66-5A63EE6BEEB2}"/>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74" name="Freeform 330">
              <a:extLst>
                <a:ext uri="{FF2B5EF4-FFF2-40B4-BE49-F238E27FC236}">
                  <a16:creationId xmlns:a16="http://schemas.microsoft.com/office/drawing/2014/main" id="{F36EE40D-D7DE-251F-24DD-4038FE723BAA}"/>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75" name="Group 274">
            <a:extLst>
              <a:ext uri="{FF2B5EF4-FFF2-40B4-BE49-F238E27FC236}">
                <a16:creationId xmlns:a16="http://schemas.microsoft.com/office/drawing/2014/main" id="{1DAEC9A1-D25A-A2F9-B18A-1549F458978C}"/>
              </a:ext>
            </a:extLst>
          </p:cNvPr>
          <p:cNvGrpSpPr/>
          <p:nvPr/>
        </p:nvGrpSpPr>
        <p:grpSpPr>
          <a:xfrm>
            <a:off x="5812679" y="3657473"/>
            <a:ext cx="299148" cy="345579"/>
            <a:chOff x="4983693" y="1073777"/>
            <a:chExt cx="368029" cy="370189"/>
          </a:xfrm>
        </p:grpSpPr>
        <p:sp>
          <p:nvSpPr>
            <p:cNvPr id="276" name="Freeform 326">
              <a:extLst>
                <a:ext uri="{FF2B5EF4-FFF2-40B4-BE49-F238E27FC236}">
                  <a16:creationId xmlns:a16="http://schemas.microsoft.com/office/drawing/2014/main" id="{4009FDF4-74EA-599D-DFF5-2ED9870B806B}"/>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77" name="Freeform 329">
              <a:extLst>
                <a:ext uri="{FF2B5EF4-FFF2-40B4-BE49-F238E27FC236}">
                  <a16:creationId xmlns:a16="http://schemas.microsoft.com/office/drawing/2014/main" id="{848B2B1C-2975-251E-053E-C2D23D063AAB}"/>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78" name="Freeform 330">
              <a:extLst>
                <a:ext uri="{FF2B5EF4-FFF2-40B4-BE49-F238E27FC236}">
                  <a16:creationId xmlns:a16="http://schemas.microsoft.com/office/drawing/2014/main" id="{C15A9ED1-10C0-5342-2682-69B33716FAF5}"/>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79" name="Group 278">
            <a:extLst>
              <a:ext uri="{FF2B5EF4-FFF2-40B4-BE49-F238E27FC236}">
                <a16:creationId xmlns:a16="http://schemas.microsoft.com/office/drawing/2014/main" id="{4E4CC72B-E8B5-DD8D-5F8B-F465AC990D39}"/>
              </a:ext>
            </a:extLst>
          </p:cNvPr>
          <p:cNvGrpSpPr/>
          <p:nvPr/>
        </p:nvGrpSpPr>
        <p:grpSpPr>
          <a:xfrm>
            <a:off x="5797216" y="3217431"/>
            <a:ext cx="299148" cy="345579"/>
            <a:chOff x="4983693" y="1073777"/>
            <a:chExt cx="368029" cy="370189"/>
          </a:xfrm>
        </p:grpSpPr>
        <p:sp>
          <p:nvSpPr>
            <p:cNvPr id="280" name="Freeform 326">
              <a:extLst>
                <a:ext uri="{FF2B5EF4-FFF2-40B4-BE49-F238E27FC236}">
                  <a16:creationId xmlns:a16="http://schemas.microsoft.com/office/drawing/2014/main" id="{DCA67E0B-546B-123A-70BC-4D98CFBE5C4D}"/>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81" name="Freeform 329">
              <a:extLst>
                <a:ext uri="{FF2B5EF4-FFF2-40B4-BE49-F238E27FC236}">
                  <a16:creationId xmlns:a16="http://schemas.microsoft.com/office/drawing/2014/main" id="{1B63DCF3-993B-EBAC-015E-ACE9C34A1F0B}"/>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82" name="Freeform 330">
              <a:extLst>
                <a:ext uri="{FF2B5EF4-FFF2-40B4-BE49-F238E27FC236}">
                  <a16:creationId xmlns:a16="http://schemas.microsoft.com/office/drawing/2014/main" id="{E1279E48-41CE-BDD6-93B2-3C089839249E}"/>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83" name="Group 282">
            <a:extLst>
              <a:ext uri="{FF2B5EF4-FFF2-40B4-BE49-F238E27FC236}">
                <a16:creationId xmlns:a16="http://schemas.microsoft.com/office/drawing/2014/main" id="{5F0490BE-A8C5-78D6-EFFE-46A49C4602C7}"/>
              </a:ext>
            </a:extLst>
          </p:cNvPr>
          <p:cNvGrpSpPr/>
          <p:nvPr/>
        </p:nvGrpSpPr>
        <p:grpSpPr>
          <a:xfrm>
            <a:off x="5791292" y="2763721"/>
            <a:ext cx="299148" cy="345579"/>
            <a:chOff x="4983693" y="1073777"/>
            <a:chExt cx="368029" cy="370189"/>
          </a:xfrm>
        </p:grpSpPr>
        <p:sp>
          <p:nvSpPr>
            <p:cNvPr id="284" name="Freeform 326">
              <a:extLst>
                <a:ext uri="{FF2B5EF4-FFF2-40B4-BE49-F238E27FC236}">
                  <a16:creationId xmlns:a16="http://schemas.microsoft.com/office/drawing/2014/main" id="{1DA075E2-C1CE-D6A1-4CB7-09BC94383F6D}"/>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85" name="Freeform 329">
              <a:extLst>
                <a:ext uri="{FF2B5EF4-FFF2-40B4-BE49-F238E27FC236}">
                  <a16:creationId xmlns:a16="http://schemas.microsoft.com/office/drawing/2014/main" id="{EEAC5C2A-26D2-1D0B-FA80-859E58728BA9}"/>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86" name="Freeform 330">
              <a:extLst>
                <a:ext uri="{FF2B5EF4-FFF2-40B4-BE49-F238E27FC236}">
                  <a16:creationId xmlns:a16="http://schemas.microsoft.com/office/drawing/2014/main" id="{AC28D311-FA06-F6DA-90E1-1A0A2B2B714A}"/>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87" name="Group 286">
            <a:extLst>
              <a:ext uri="{FF2B5EF4-FFF2-40B4-BE49-F238E27FC236}">
                <a16:creationId xmlns:a16="http://schemas.microsoft.com/office/drawing/2014/main" id="{503FDF51-B3F8-13C3-8029-67F36382021A}"/>
              </a:ext>
            </a:extLst>
          </p:cNvPr>
          <p:cNvGrpSpPr/>
          <p:nvPr/>
        </p:nvGrpSpPr>
        <p:grpSpPr>
          <a:xfrm>
            <a:off x="5786314" y="2300798"/>
            <a:ext cx="299148" cy="345579"/>
            <a:chOff x="4983693" y="1073777"/>
            <a:chExt cx="368029" cy="370189"/>
          </a:xfrm>
        </p:grpSpPr>
        <p:sp>
          <p:nvSpPr>
            <p:cNvPr id="288" name="Freeform 326">
              <a:extLst>
                <a:ext uri="{FF2B5EF4-FFF2-40B4-BE49-F238E27FC236}">
                  <a16:creationId xmlns:a16="http://schemas.microsoft.com/office/drawing/2014/main" id="{7AA773B9-CC51-06A9-EC85-41FFE9E2C0A4}"/>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89" name="Freeform 329">
              <a:extLst>
                <a:ext uri="{FF2B5EF4-FFF2-40B4-BE49-F238E27FC236}">
                  <a16:creationId xmlns:a16="http://schemas.microsoft.com/office/drawing/2014/main" id="{149FA5B4-D5EE-419C-BF2E-F3F14F1E1480}"/>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90" name="Freeform 330">
              <a:extLst>
                <a:ext uri="{FF2B5EF4-FFF2-40B4-BE49-F238E27FC236}">
                  <a16:creationId xmlns:a16="http://schemas.microsoft.com/office/drawing/2014/main" id="{E7A5DB8A-DAE7-28A8-8098-2DD284171DC1}"/>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91" name="Group 290">
            <a:extLst>
              <a:ext uri="{FF2B5EF4-FFF2-40B4-BE49-F238E27FC236}">
                <a16:creationId xmlns:a16="http://schemas.microsoft.com/office/drawing/2014/main" id="{F3345542-E9FB-BEAE-CD2C-06C8DC751205}"/>
              </a:ext>
            </a:extLst>
          </p:cNvPr>
          <p:cNvGrpSpPr/>
          <p:nvPr/>
        </p:nvGrpSpPr>
        <p:grpSpPr>
          <a:xfrm>
            <a:off x="5782822" y="1797866"/>
            <a:ext cx="299148" cy="345579"/>
            <a:chOff x="4983693" y="1073777"/>
            <a:chExt cx="368029" cy="370189"/>
          </a:xfrm>
        </p:grpSpPr>
        <p:sp>
          <p:nvSpPr>
            <p:cNvPr id="292" name="Freeform 326">
              <a:extLst>
                <a:ext uri="{FF2B5EF4-FFF2-40B4-BE49-F238E27FC236}">
                  <a16:creationId xmlns:a16="http://schemas.microsoft.com/office/drawing/2014/main" id="{8CD1FFA7-7983-A325-1395-630D739595E3}"/>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93" name="Freeform 329">
              <a:extLst>
                <a:ext uri="{FF2B5EF4-FFF2-40B4-BE49-F238E27FC236}">
                  <a16:creationId xmlns:a16="http://schemas.microsoft.com/office/drawing/2014/main" id="{D7CE65C8-546F-0321-2CA7-64EE49760E59}"/>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94" name="Freeform 330">
              <a:extLst>
                <a:ext uri="{FF2B5EF4-FFF2-40B4-BE49-F238E27FC236}">
                  <a16:creationId xmlns:a16="http://schemas.microsoft.com/office/drawing/2014/main" id="{F4B14511-C0EE-530D-109F-BEB300B62CD4}"/>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sp>
        <p:nvSpPr>
          <p:cNvPr id="295" name="Rectangle: Rounded Corners 8">
            <a:extLst>
              <a:ext uri="{FF2B5EF4-FFF2-40B4-BE49-F238E27FC236}">
                <a16:creationId xmlns:a16="http://schemas.microsoft.com/office/drawing/2014/main" id="{26FF301C-45FE-560C-FF5E-9B049BDC33D7}"/>
              </a:ext>
            </a:extLst>
          </p:cNvPr>
          <p:cNvSpPr/>
          <p:nvPr/>
        </p:nvSpPr>
        <p:spPr>
          <a:xfrm>
            <a:off x="3904685" y="4633298"/>
            <a:ext cx="1692000" cy="446062"/>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96" name="Rectangle: Rounded Corners 295">
            <a:extLst>
              <a:ext uri="{FF2B5EF4-FFF2-40B4-BE49-F238E27FC236}">
                <a16:creationId xmlns:a16="http://schemas.microsoft.com/office/drawing/2014/main" id="{0AEB1FE5-507B-ED33-6914-7C9E77CDDBE4}"/>
              </a:ext>
            </a:extLst>
          </p:cNvPr>
          <p:cNvSpPr/>
          <p:nvPr/>
        </p:nvSpPr>
        <p:spPr>
          <a:xfrm>
            <a:off x="3912795" y="1769063"/>
            <a:ext cx="1692000" cy="369161"/>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97" name="Rectangle: Rounded Corners 296">
            <a:extLst>
              <a:ext uri="{FF2B5EF4-FFF2-40B4-BE49-F238E27FC236}">
                <a16:creationId xmlns:a16="http://schemas.microsoft.com/office/drawing/2014/main" id="{A50808A2-7810-0C88-8CFB-735A793233F8}"/>
              </a:ext>
            </a:extLst>
          </p:cNvPr>
          <p:cNvSpPr/>
          <p:nvPr/>
        </p:nvSpPr>
        <p:spPr>
          <a:xfrm>
            <a:off x="3912795" y="2203732"/>
            <a:ext cx="1692000" cy="388386"/>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98" name="Rectangle: Rounded Corners 297">
            <a:extLst>
              <a:ext uri="{FF2B5EF4-FFF2-40B4-BE49-F238E27FC236}">
                <a16:creationId xmlns:a16="http://schemas.microsoft.com/office/drawing/2014/main" id="{3DB90EB4-377B-BEB5-18C5-2F3F5B06CDE0}"/>
              </a:ext>
            </a:extLst>
          </p:cNvPr>
          <p:cNvSpPr/>
          <p:nvPr/>
        </p:nvSpPr>
        <p:spPr>
          <a:xfrm>
            <a:off x="3913963" y="2657471"/>
            <a:ext cx="1692000" cy="446062"/>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299" name="Rectangle: Rounded Corners 298">
            <a:extLst>
              <a:ext uri="{FF2B5EF4-FFF2-40B4-BE49-F238E27FC236}">
                <a16:creationId xmlns:a16="http://schemas.microsoft.com/office/drawing/2014/main" id="{A435E3EB-3C2A-586B-83B2-672E48210F2E}"/>
              </a:ext>
            </a:extLst>
          </p:cNvPr>
          <p:cNvSpPr/>
          <p:nvPr/>
        </p:nvSpPr>
        <p:spPr>
          <a:xfrm>
            <a:off x="3913963" y="3639990"/>
            <a:ext cx="1692000" cy="446062"/>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300" name="Rectangle: Rounded Corners 299">
            <a:extLst>
              <a:ext uri="{FF2B5EF4-FFF2-40B4-BE49-F238E27FC236}">
                <a16:creationId xmlns:a16="http://schemas.microsoft.com/office/drawing/2014/main" id="{0A1B91AE-5296-0ECF-0668-5519DFEEDC58}"/>
              </a:ext>
            </a:extLst>
          </p:cNvPr>
          <p:cNvSpPr/>
          <p:nvPr/>
        </p:nvSpPr>
        <p:spPr>
          <a:xfrm>
            <a:off x="3904685" y="4132255"/>
            <a:ext cx="1692000" cy="446062"/>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301" name="TextBox 300">
            <a:extLst>
              <a:ext uri="{FF2B5EF4-FFF2-40B4-BE49-F238E27FC236}">
                <a16:creationId xmlns:a16="http://schemas.microsoft.com/office/drawing/2014/main" id="{4FA629B4-8E2C-B31E-230F-071F2AD2AC1B}"/>
              </a:ext>
            </a:extLst>
          </p:cNvPr>
          <p:cNvSpPr txBox="1"/>
          <p:nvPr/>
        </p:nvSpPr>
        <p:spPr>
          <a:xfrm>
            <a:off x="4089226" y="1821386"/>
            <a:ext cx="1741731" cy="230832"/>
          </a:xfrm>
          <a:prstGeom prst="rect">
            <a:avLst/>
          </a:prstGeom>
          <a:noFill/>
        </p:spPr>
        <p:txBody>
          <a:bodyPr wrap="square" rtlCol="0">
            <a:spAutoFit/>
          </a:bodyPr>
          <a:lstStyle/>
          <a:p>
            <a:r>
              <a:rPr lang="en-US" sz="900">
                <a:latin typeface="+mj-lt"/>
              </a:rPr>
              <a:t>Software Engineers</a:t>
            </a:r>
          </a:p>
        </p:txBody>
      </p:sp>
      <p:sp>
        <p:nvSpPr>
          <p:cNvPr id="302" name="TextBox 301">
            <a:extLst>
              <a:ext uri="{FF2B5EF4-FFF2-40B4-BE49-F238E27FC236}">
                <a16:creationId xmlns:a16="http://schemas.microsoft.com/office/drawing/2014/main" id="{2E25741B-FB99-113B-ADDE-7C2884BA1F23}"/>
              </a:ext>
            </a:extLst>
          </p:cNvPr>
          <p:cNvSpPr txBox="1"/>
          <p:nvPr/>
        </p:nvSpPr>
        <p:spPr>
          <a:xfrm>
            <a:off x="4077200" y="2277654"/>
            <a:ext cx="1944823" cy="230832"/>
          </a:xfrm>
          <a:prstGeom prst="rect">
            <a:avLst/>
          </a:prstGeom>
          <a:noFill/>
        </p:spPr>
        <p:txBody>
          <a:bodyPr wrap="square" rtlCol="0">
            <a:spAutoFit/>
          </a:bodyPr>
          <a:lstStyle/>
          <a:p>
            <a:r>
              <a:rPr lang="en-US" sz="900">
                <a:latin typeface="+mj-lt"/>
              </a:rPr>
              <a:t>Software Engineer</a:t>
            </a:r>
          </a:p>
        </p:txBody>
      </p:sp>
      <p:sp>
        <p:nvSpPr>
          <p:cNvPr id="303" name="TextBox 302">
            <a:extLst>
              <a:ext uri="{FF2B5EF4-FFF2-40B4-BE49-F238E27FC236}">
                <a16:creationId xmlns:a16="http://schemas.microsoft.com/office/drawing/2014/main" id="{3BF21CC9-F426-7778-0E17-713E4B641639}"/>
              </a:ext>
            </a:extLst>
          </p:cNvPr>
          <p:cNvSpPr txBox="1"/>
          <p:nvPr/>
        </p:nvSpPr>
        <p:spPr>
          <a:xfrm>
            <a:off x="4089226" y="2744126"/>
            <a:ext cx="1865622" cy="230832"/>
          </a:xfrm>
          <a:prstGeom prst="rect">
            <a:avLst/>
          </a:prstGeom>
          <a:noFill/>
        </p:spPr>
        <p:txBody>
          <a:bodyPr wrap="square" rtlCol="0">
            <a:spAutoFit/>
          </a:bodyPr>
          <a:lstStyle/>
          <a:p>
            <a:r>
              <a:rPr lang="en-US" sz="900">
                <a:latin typeface="+mj-lt"/>
              </a:rPr>
              <a:t>Software Engineer</a:t>
            </a:r>
          </a:p>
        </p:txBody>
      </p:sp>
      <p:sp>
        <p:nvSpPr>
          <p:cNvPr id="304" name="Rectangle: Rounded Corners 303">
            <a:extLst>
              <a:ext uri="{FF2B5EF4-FFF2-40B4-BE49-F238E27FC236}">
                <a16:creationId xmlns:a16="http://schemas.microsoft.com/office/drawing/2014/main" id="{9115832A-3A20-8BB0-0D0D-7A6612DB528A}"/>
              </a:ext>
            </a:extLst>
          </p:cNvPr>
          <p:cNvSpPr/>
          <p:nvPr/>
        </p:nvSpPr>
        <p:spPr>
          <a:xfrm>
            <a:off x="3907341" y="3156931"/>
            <a:ext cx="1692000" cy="446062"/>
          </a:xfrm>
          <a:prstGeom prst="roundRect">
            <a:avLst>
              <a:gd name="adj" fmla="val 0"/>
            </a:avLst>
          </a:prstGeom>
          <a:solidFill>
            <a:schemeClr val="bg2"/>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mj-lt"/>
            </a:endParaRPr>
          </a:p>
        </p:txBody>
      </p:sp>
      <p:sp>
        <p:nvSpPr>
          <p:cNvPr id="305" name="TextBox 304">
            <a:extLst>
              <a:ext uri="{FF2B5EF4-FFF2-40B4-BE49-F238E27FC236}">
                <a16:creationId xmlns:a16="http://schemas.microsoft.com/office/drawing/2014/main" id="{94B115E6-5CED-50A2-B6D5-B56D95F85E16}"/>
              </a:ext>
            </a:extLst>
          </p:cNvPr>
          <p:cNvSpPr txBox="1"/>
          <p:nvPr/>
        </p:nvSpPr>
        <p:spPr>
          <a:xfrm>
            <a:off x="4067693" y="3253864"/>
            <a:ext cx="1512000" cy="230832"/>
          </a:xfrm>
          <a:prstGeom prst="rect">
            <a:avLst/>
          </a:prstGeom>
          <a:noFill/>
        </p:spPr>
        <p:txBody>
          <a:bodyPr wrap="square" lIns="91440" tIns="45720" rIns="91440" bIns="45720" rtlCol="0" anchor="t">
            <a:spAutoFit/>
          </a:bodyPr>
          <a:lstStyle/>
          <a:p>
            <a:r>
              <a:rPr lang="en-US" sz="900">
                <a:latin typeface="+mj-lt"/>
              </a:rPr>
              <a:t>Software Engineer</a:t>
            </a:r>
          </a:p>
        </p:txBody>
      </p:sp>
      <p:sp>
        <p:nvSpPr>
          <p:cNvPr id="306" name="TextBox 305">
            <a:extLst>
              <a:ext uri="{FF2B5EF4-FFF2-40B4-BE49-F238E27FC236}">
                <a16:creationId xmlns:a16="http://schemas.microsoft.com/office/drawing/2014/main" id="{CCC5AD7F-1284-748F-F33C-F2BBA7F939C9}"/>
              </a:ext>
            </a:extLst>
          </p:cNvPr>
          <p:cNvSpPr txBox="1"/>
          <p:nvPr/>
        </p:nvSpPr>
        <p:spPr>
          <a:xfrm>
            <a:off x="4082397" y="3712564"/>
            <a:ext cx="1512000" cy="230832"/>
          </a:xfrm>
          <a:prstGeom prst="rect">
            <a:avLst/>
          </a:prstGeom>
          <a:noFill/>
        </p:spPr>
        <p:txBody>
          <a:bodyPr wrap="square" lIns="91440" tIns="45720" rIns="91440" bIns="45720" rtlCol="0" anchor="t">
            <a:spAutoFit/>
          </a:bodyPr>
          <a:lstStyle/>
          <a:p>
            <a:r>
              <a:rPr lang="en-US" sz="900">
                <a:latin typeface="+mj-lt"/>
              </a:rPr>
              <a:t>QA Engineers</a:t>
            </a:r>
          </a:p>
        </p:txBody>
      </p:sp>
      <p:sp>
        <p:nvSpPr>
          <p:cNvPr id="307" name="TextBox 306">
            <a:extLst>
              <a:ext uri="{FF2B5EF4-FFF2-40B4-BE49-F238E27FC236}">
                <a16:creationId xmlns:a16="http://schemas.microsoft.com/office/drawing/2014/main" id="{9910E715-2B92-3A9E-4AE6-BF431BDD7922}"/>
              </a:ext>
            </a:extLst>
          </p:cNvPr>
          <p:cNvSpPr txBox="1"/>
          <p:nvPr/>
        </p:nvSpPr>
        <p:spPr>
          <a:xfrm>
            <a:off x="4075779" y="4222085"/>
            <a:ext cx="2057876" cy="230832"/>
          </a:xfrm>
          <a:prstGeom prst="rect">
            <a:avLst/>
          </a:prstGeom>
          <a:noFill/>
        </p:spPr>
        <p:txBody>
          <a:bodyPr wrap="square" lIns="91440" tIns="45720" rIns="91440" bIns="45720" rtlCol="0" anchor="t">
            <a:spAutoFit/>
          </a:bodyPr>
          <a:lstStyle/>
          <a:p>
            <a:r>
              <a:rPr lang="en-US" sz="900">
                <a:latin typeface="+mj-lt"/>
              </a:rPr>
              <a:t>QA Engineers</a:t>
            </a:r>
          </a:p>
        </p:txBody>
      </p:sp>
      <p:sp>
        <p:nvSpPr>
          <p:cNvPr id="308" name="TextBox 307">
            <a:extLst>
              <a:ext uri="{FF2B5EF4-FFF2-40B4-BE49-F238E27FC236}">
                <a16:creationId xmlns:a16="http://schemas.microsoft.com/office/drawing/2014/main" id="{F02596F7-433D-D356-AB34-88B930872F71}"/>
              </a:ext>
            </a:extLst>
          </p:cNvPr>
          <p:cNvSpPr txBox="1"/>
          <p:nvPr/>
        </p:nvSpPr>
        <p:spPr>
          <a:xfrm>
            <a:off x="4071700" y="4706332"/>
            <a:ext cx="2057876" cy="230832"/>
          </a:xfrm>
          <a:prstGeom prst="rect">
            <a:avLst/>
          </a:prstGeom>
          <a:noFill/>
        </p:spPr>
        <p:txBody>
          <a:bodyPr wrap="square" lIns="91440" tIns="45720" rIns="91440" bIns="45720" rtlCol="0" anchor="t">
            <a:spAutoFit/>
          </a:bodyPr>
          <a:lstStyle/>
          <a:p>
            <a:r>
              <a:rPr lang="en-US" sz="900">
                <a:latin typeface="+mj-lt"/>
              </a:rPr>
              <a:t>Data engineers</a:t>
            </a:r>
          </a:p>
        </p:txBody>
      </p:sp>
      <p:sp>
        <p:nvSpPr>
          <p:cNvPr id="309" name="Arrow: Pentagon 96">
            <a:extLst>
              <a:ext uri="{FF2B5EF4-FFF2-40B4-BE49-F238E27FC236}">
                <a16:creationId xmlns:a16="http://schemas.microsoft.com/office/drawing/2014/main" id="{12975B01-F7FA-BB3F-185F-ACBB7F4DE343}"/>
              </a:ext>
            </a:extLst>
          </p:cNvPr>
          <p:cNvSpPr>
            <a:spLocks/>
          </p:cNvSpPr>
          <p:nvPr/>
        </p:nvSpPr>
        <p:spPr>
          <a:xfrm>
            <a:off x="3898462" y="5136009"/>
            <a:ext cx="2268000" cy="252000"/>
          </a:xfrm>
          <a:prstGeom prst="homePlate">
            <a:avLst/>
          </a:prstGeom>
          <a:solidFill>
            <a:srgbClr val="8EC63E"/>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r>
              <a:rPr lang="en-US" sz="900" b="1" kern="0">
                <a:latin typeface="Verdana"/>
              </a:rPr>
              <a:t>POD 1</a:t>
            </a:r>
          </a:p>
        </p:txBody>
      </p:sp>
      <p:grpSp>
        <p:nvGrpSpPr>
          <p:cNvPr id="310" name="Group 309">
            <a:extLst>
              <a:ext uri="{FF2B5EF4-FFF2-40B4-BE49-F238E27FC236}">
                <a16:creationId xmlns:a16="http://schemas.microsoft.com/office/drawing/2014/main" id="{A2F30C9E-3E86-943B-3863-79753A1A1BFD}"/>
              </a:ext>
            </a:extLst>
          </p:cNvPr>
          <p:cNvGrpSpPr/>
          <p:nvPr/>
        </p:nvGrpSpPr>
        <p:grpSpPr>
          <a:xfrm>
            <a:off x="2012871" y="4648773"/>
            <a:ext cx="1145933" cy="573757"/>
            <a:chOff x="2042121" y="5139392"/>
            <a:chExt cx="1145933" cy="573757"/>
          </a:xfrm>
        </p:grpSpPr>
        <p:sp>
          <p:nvSpPr>
            <p:cNvPr id="311" name="Rectangle 310">
              <a:extLst>
                <a:ext uri="{FF2B5EF4-FFF2-40B4-BE49-F238E27FC236}">
                  <a16:creationId xmlns:a16="http://schemas.microsoft.com/office/drawing/2014/main" id="{0E093943-33D3-F3B0-35F6-7314B2AD6D70}"/>
                </a:ext>
              </a:extLst>
            </p:cNvPr>
            <p:cNvSpPr/>
            <p:nvPr/>
          </p:nvSpPr>
          <p:spPr>
            <a:xfrm>
              <a:off x="2042121" y="5139392"/>
              <a:ext cx="1142629" cy="25283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err="1">
                <a:solidFill>
                  <a:schemeClr val="tx1"/>
                </a:solidFill>
              </a:endParaRPr>
            </a:p>
          </p:txBody>
        </p:sp>
        <p:sp>
          <p:nvSpPr>
            <p:cNvPr id="312" name="Rectangle 311">
              <a:extLst>
                <a:ext uri="{FF2B5EF4-FFF2-40B4-BE49-F238E27FC236}">
                  <a16:creationId xmlns:a16="http://schemas.microsoft.com/office/drawing/2014/main" id="{A5C468B7-FB28-D36A-1461-E4C600BE88B7}"/>
                </a:ext>
              </a:extLst>
            </p:cNvPr>
            <p:cNvSpPr/>
            <p:nvPr/>
          </p:nvSpPr>
          <p:spPr>
            <a:xfrm>
              <a:off x="2045425" y="5460319"/>
              <a:ext cx="1142629" cy="2528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err="1">
                <a:solidFill>
                  <a:schemeClr val="tx2">
                    <a:lumMod val="50000"/>
                  </a:schemeClr>
                </a:solidFill>
              </a:endParaRPr>
            </a:p>
          </p:txBody>
        </p:sp>
        <p:sp>
          <p:nvSpPr>
            <p:cNvPr id="313" name="TextBox 312">
              <a:extLst>
                <a:ext uri="{FF2B5EF4-FFF2-40B4-BE49-F238E27FC236}">
                  <a16:creationId xmlns:a16="http://schemas.microsoft.com/office/drawing/2014/main" id="{BA04C571-F883-0346-75C8-ADEC906182CE}"/>
                </a:ext>
              </a:extLst>
            </p:cNvPr>
            <p:cNvSpPr txBox="1"/>
            <p:nvPr/>
          </p:nvSpPr>
          <p:spPr>
            <a:xfrm>
              <a:off x="2256689" y="5158089"/>
              <a:ext cx="649537" cy="215444"/>
            </a:xfrm>
            <a:prstGeom prst="rect">
              <a:avLst/>
            </a:prstGeom>
            <a:noFill/>
          </p:spPr>
          <p:txBody>
            <a:bodyPr wrap="none" rtlCol="0">
              <a:spAutoFit/>
            </a:bodyPr>
            <a:lstStyle/>
            <a:p>
              <a:r>
                <a:rPr lang="en-IN" sz="800">
                  <a:solidFill>
                    <a:schemeClr val="bg1"/>
                  </a:solidFill>
                </a:rPr>
                <a:t>GE Team</a:t>
              </a:r>
            </a:p>
          </p:txBody>
        </p:sp>
        <p:sp>
          <p:nvSpPr>
            <p:cNvPr id="314" name="TextBox 313">
              <a:extLst>
                <a:ext uri="{FF2B5EF4-FFF2-40B4-BE49-F238E27FC236}">
                  <a16:creationId xmlns:a16="http://schemas.microsoft.com/office/drawing/2014/main" id="{E58D3FC0-8B98-FC66-CBF0-DC7D4BE35492}"/>
                </a:ext>
              </a:extLst>
            </p:cNvPr>
            <p:cNvSpPr txBox="1"/>
            <p:nvPr/>
          </p:nvSpPr>
          <p:spPr>
            <a:xfrm>
              <a:off x="2098193" y="5465937"/>
              <a:ext cx="1050288" cy="215444"/>
            </a:xfrm>
            <a:prstGeom prst="rect">
              <a:avLst/>
            </a:prstGeom>
            <a:noFill/>
          </p:spPr>
          <p:txBody>
            <a:bodyPr wrap="none" rtlCol="0">
              <a:spAutoFit/>
            </a:bodyPr>
            <a:lstStyle/>
            <a:p>
              <a:r>
                <a:rPr lang="en-IN" sz="800">
                  <a:solidFill>
                    <a:schemeClr val="accent1"/>
                  </a:solidFill>
                </a:rPr>
                <a:t>Capgemini Team</a:t>
              </a:r>
            </a:p>
          </p:txBody>
        </p:sp>
      </p:grpSp>
      <p:sp>
        <p:nvSpPr>
          <p:cNvPr id="315" name="TextBox 314">
            <a:extLst>
              <a:ext uri="{FF2B5EF4-FFF2-40B4-BE49-F238E27FC236}">
                <a16:creationId xmlns:a16="http://schemas.microsoft.com/office/drawing/2014/main" id="{AB6B4402-DF54-4E28-91AA-6E11FBB18BD7}"/>
              </a:ext>
            </a:extLst>
          </p:cNvPr>
          <p:cNvSpPr txBox="1"/>
          <p:nvPr/>
        </p:nvSpPr>
        <p:spPr>
          <a:xfrm>
            <a:off x="1503605" y="5322525"/>
            <a:ext cx="2057876" cy="507831"/>
          </a:xfrm>
          <a:prstGeom prst="rect">
            <a:avLst/>
          </a:prstGeom>
          <a:noFill/>
        </p:spPr>
        <p:txBody>
          <a:bodyPr wrap="square" lIns="91440" tIns="45720" rIns="91440" bIns="45720" rtlCol="0" anchor="t">
            <a:spAutoFit/>
          </a:bodyPr>
          <a:lstStyle/>
          <a:p>
            <a:pPr algn="just"/>
            <a:r>
              <a:rPr lang="en-US" sz="900" i="1">
                <a:latin typeface="+mj-lt"/>
              </a:rPr>
              <a:t>* POD team roles, Skills are indicative, during Assessment the same will be updated.</a:t>
            </a:r>
          </a:p>
        </p:txBody>
      </p:sp>
      <p:sp>
        <p:nvSpPr>
          <p:cNvPr id="316" name="TextBox 315">
            <a:extLst>
              <a:ext uri="{FF2B5EF4-FFF2-40B4-BE49-F238E27FC236}">
                <a16:creationId xmlns:a16="http://schemas.microsoft.com/office/drawing/2014/main" id="{315F78B8-8273-5E81-5839-4B35C3B13116}"/>
              </a:ext>
            </a:extLst>
          </p:cNvPr>
          <p:cNvSpPr txBox="1"/>
          <p:nvPr/>
        </p:nvSpPr>
        <p:spPr>
          <a:xfrm>
            <a:off x="2225548" y="1453669"/>
            <a:ext cx="2512570" cy="23703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de-DE"/>
            </a:defPPr>
            <a:lvl1pPr algn="ctr">
              <a:defRPr sz="2400">
                <a:solidFill>
                  <a:schemeClr val="tx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000">
                <a:solidFill>
                  <a:schemeClr val="tx1"/>
                </a:solidFill>
              </a:rPr>
              <a:t>Technical Product Manager</a:t>
            </a:r>
          </a:p>
        </p:txBody>
      </p:sp>
      <p:grpSp>
        <p:nvGrpSpPr>
          <p:cNvPr id="317" name="Group 316">
            <a:extLst>
              <a:ext uri="{FF2B5EF4-FFF2-40B4-BE49-F238E27FC236}">
                <a16:creationId xmlns:a16="http://schemas.microsoft.com/office/drawing/2014/main" id="{DA1BFE22-D56B-421F-AB67-591A61315571}"/>
              </a:ext>
            </a:extLst>
          </p:cNvPr>
          <p:cNvGrpSpPr/>
          <p:nvPr/>
        </p:nvGrpSpPr>
        <p:grpSpPr>
          <a:xfrm>
            <a:off x="2123251" y="1420887"/>
            <a:ext cx="343563" cy="298191"/>
            <a:chOff x="4983693" y="1073777"/>
            <a:chExt cx="368029" cy="370189"/>
          </a:xfrm>
          <a:solidFill>
            <a:schemeClr val="bg1">
              <a:lumMod val="65000"/>
            </a:schemeClr>
          </a:solidFill>
        </p:grpSpPr>
        <p:sp>
          <p:nvSpPr>
            <p:cNvPr id="318" name="Freeform 326">
              <a:extLst>
                <a:ext uri="{FF2B5EF4-FFF2-40B4-BE49-F238E27FC236}">
                  <a16:creationId xmlns:a16="http://schemas.microsoft.com/office/drawing/2014/main" id="{4C1CBC39-CF65-AE47-0F19-9BC2906AD666}"/>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2">
                    <a:lumMod val="50000"/>
                  </a:schemeClr>
                </a:solidFill>
              </a:endParaRPr>
            </a:p>
          </p:txBody>
        </p:sp>
        <p:sp>
          <p:nvSpPr>
            <p:cNvPr id="319" name="Freeform 329">
              <a:extLst>
                <a:ext uri="{FF2B5EF4-FFF2-40B4-BE49-F238E27FC236}">
                  <a16:creationId xmlns:a16="http://schemas.microsoft.com/office/drawing/2014/main" id="{93DE1D13-68A4-D30B-A845-B5F34D358402}"/>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2">
                    <a:lumMod val="50000"/>
                  </a:schemeClr>
                </a:solidFill>
              </a:endParaRPr>
            </a:p>
          </p:txBody>
        </p:sp>
        <p:sp>
          <p:nvSpPr>
            <p:cNvPr id="320" name="Freeform 330">
              <a:extLst>
                <a:ext uri="{FF2B5EF4-FFF2-40B4-BE49-F238E27FC236}">
                  <a16:creationId xmlns:a16="http://schemas.microsoft.com/office/drawing/2014/main" id="{DFC2E830-D74B-6542-021E-03E87D376DFF}"/>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2">
                    <a:lumMod val="50000"/>
                  </a:schemeClr>
                </a:solidFill>
              </a:endParaRPr>
            </a:p>
          </p:txBody>
        </p:sp>
      </p:grpSp>
      <p:grpSp>
        <p:nvGrpSpPr>
          <p:cNvPr id="321" name="Group 320">
            <a:extLst>
              <a:ext uri="{FF2B5EF4-FFF2-40B4-BE49-F238E27FC236}">
                <a16:creationId xmlns:a16="http://schemas.microsoft.com/office/drawing/2014/main" id="{464DDC63-6B2C-B5F3-4429-76B71C066E53}"/>
              </a:ext>
            </a:extLst>
          </p:cNvPr>
          <p:cNvGrpSpPr/>
          <p:nvPr/>
        </p:nvGrpSpPr>
        <p:grpSpPr>
          <a:xfrm>
            <a:off x="2145600" y="1396407"/>
            <a:ext cx="343563" cy="345579"/>
            <a:chOff x="4983693" y="1073777"/>
            <a:chExt cx="368029" cy="370189"/>
          </a:xfrm>
        </p:grpSpPr>
        <p:sp>
          <p:nvSpPr>
            <p:cNvPr id="322" name="Freeform 326">
              <a:extLst>
                <a:ext uri="{FF2B5EF4-FFF2-40B4-BE49-F238E27FC236}">
                  <a16:creationId xmlns:a16="http://schemas.microsoft.com/office/drawing/2014/main" id="{2BF5B70C-E239-5C8A-5BB8-BB9AE1122C24}"/>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23" name="Freeform 329">
              <a:extLst>
                <a:ext uri="{FF2B5EF4-FFF2-40B4-BE49-F238E27FC236}">
                  <a16:creationId xmlns:a16="http://schemas.microsoft.com/office/drawing/2014/main" id="{BB9A8197-222A-66DB-230D-B9020247A85F}"/>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24" name="Freeform 330">
              <a:extLst>
                <a:ext uri="{FF2B5EF4-FFF2-40B4-BE49-F238E27FC236}">
                  <a16:creationId xmlns:a16="http://schemas.microsoft.com/office/drawing/2014/main" id="{885E48D0-45C4-B2E7-D858-0CF3D58F0E64}"/>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sp>
        <p:nvSpPr>
          <p:cNvPr id="2" name="TextBox 1">
            <a:extLst>
              <a:ext uri="{FF2B5EF4-FFF2-40B4-BE49-F238E27FC236}">
                <a16:creationId xmlns:a16="http://schemas.microsoft.com/office/drawing/2014/main" id="{2FE36DBE-38EC-0B6D-C2E1-4A9AE13F44B3}"/>
              </a:ext>
            </a:extLst>
          </p:cNvPr>
          <p:cNvSpPr txBox="1"/>
          <p:nvPr/>
        </p:nvSpPr>
        <p:spPr>
          <a:xfrm>
            <a:off x="4167052" y="6039520"/>
            <a:ext cx="2512570" cy="23703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de-DE"/>
            </a:defPPr>
            <a:lvl1pPr algn="ctr">
              <a:defRPr sz="2400">
                <a:solidFill>
                  <a:schemeClr val="tx2">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000">
                <a:solidFill>
                  <a:schemeClr val="tx1"/>
                </a:solidFill>
              </a:rPr>
              <a:t>Technical Product Manager</a:t>
            </a:r>
          </a:p>
        </p:txBody>
      </p:sp>
      <p:grpSp>
        <p:nvGrpSpPr>
          <p:cNvPr id="3" name="Group 2">
            <a:extLst>
              <a:ext uri="{FF2B5EF4-FFF2-40B4-BE49-F238E27FC236}">
                <a16:creationId xmlns:a16="http://schemas.microsoft.com/office/drawing/2014/main" id="{23F69C75-78B3-273C-CD39-99F89B4606A0}"/>
              </a:ext>
            </a:extLst>
          </p:cNvPr>
          <p:cNvGrpSpPr/>
          <p:nvPr/>
        </p:nvGrpSpPr>
        <p:grpSpPr>
          <a:xfrm>
            <a:off x="7780553" y="5831884"/>
            <a:ext cx="343563" cy="345579"/>
            <a:chOff x="4983693" y="1073777"/>
            <a:chExt cx="368029" cy="370189"/>
          </a:xfrm>
        </p:grpSpPr>
        <p:sp>
          <p:nvSpPr>
            <p:cNvPr id="4" name="Freeform 326">
              <a:extLst>
                <a:ext uri="{FF2B5EF4-FFF2-40B4-BE49-F238E27FC236}">
                  <a16:creationId xmlns:a16="http://schemas.microsoft.com/office/drawing/2014/main" id="{F2EC0ED1-EFD9-5E69-E021-1C1B75D25F53}"/>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5" name="Freeform 329">
              <a:extLst>
                <a:ext uri="{FF2B5EF4-FFF2-40B4-BE49-F238E27FC236}">
                  <a16:creationId xmlns:a16="http://schemas.microsoft.com/office/drawing/2014/main" id="{77534882-9311-9536-B6CB-13F4959A5BBE}"/>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6" name="Freeform 330">
              <a:extLst>
                <a:ext uri="{FF2B5EF4-FFF2-40B4-BE49-F238E27FC236}">
                  <a16:creationId xmlns:a16="http://schemas.microsoft.com/office/drawing/2014/main" id="{5FBF2A3C-9A4C-111C-4E8E-2EAAAABFD757}"/>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spTree>
    <p:extLst>
      <p:ext uri="{BB962C8B-B14F-4D97-AF65-F5344CB8AC3E}">
        <p14:creationId xmlns:p14="http://schemas.microsoft.com/office/powerpoint/2010/main" val="39695449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3D2E16-1999-3B5D-53BA-7A71707144C8}"/>
              </a:ext>
            </a:extLst>
          </p:cNvPr>
          <p:cNvSpPr>
            <a:spLocks noGrp="1"/>
          </p:cNvSpPr>
          <p:nvPr>
            <p:ph type="title"/>
          </p:nvPr>
        </p:nvSpPr>
        <p:spPr/>
        <p:txBody>
          <a:bodyPr/>
          <a:lstStyle/>
          <a:p>
            <a:r>
              <a:rPr lang="en-US" sz="1800">
                <a:solidFill>
                  <a:schemeClr val="accent1"/>
                </a:solidFill>
              </a:rPr>
              <a:t>Generative AI by Capgemini</a:t>
            </a:r>
            <a:br>
              <a:rPr lang="en-US">
                <a:effectLst/>
                <a:ea typeface="Times New Roman" panose="02020603050405020304" pitchFamily="18" charset="0"/>
              </a:rPr>
            </a:br>
            <a:r>
              <a:rPr lang="en-US">
                <a:effectLst/>
                <a:ea typeface="Times New Roman" panose="02020603050405020304" pitchFamily="18" charset="0"/>
              </a:rPr>
              <a:t>Capgemini’s Broad Excellence in Generative AI</a:t>
            </a:r>
          </a:p>
        </p:txBody>
      </p:sp>
      <p:sp>
        <p:nvSpPr>
          <p:cNvPr id="3" name="Rectangle: Rounded Corners 2">
            <a:extLst>
              <a:ext uri="{FF2B5EF4-FFF2-40B4-BE49-F238E27FC236}">
                <a16:creationId xmlns:a16="http://schemas.microsoft.com/office/drawing/2014/main" id="{1F71C45B-0EC1-8755-6DA2-52B267C77177}"/>
              </a:ext>
            </a:extLst>
          </p:cNvPr>
          <p:cNvSpPr/>
          <p:nvPr/>
        </p:nvSpPr>
        <p:spPr>
          <a:xfrm>
            <a:off x="414971" y="1412875"/>
            <a:ext cx="5607238" cy="2450775"/>
          </a:xfrm>
          <a:prstGeom prst="roundRect">
            <a:avLst>
              <a:gd name="adj" fmla="val 5233"/>
            </a:avLst>
          </a:prstGeom>
          <a:solidFill>
            <a:schemeClr val="bg1"/>
          </a:solidFill>
          <a:ln w="9525">
            <a:solidFill>
              <a:srgbClr val="DDDDD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Ubuntu"/>
                <a:ea typeface="+mn-ea"/>
                <a:cs typeface="+mn-cs"/>
              </a:rPr>
              <a:t>Generative AI Strategy</a:t>
            </a:r>
          </a:p>
        </p:txBody>
      </p:sp>
      <p:sp>
        <p:nvSpPr>
          <p:cNvPr id="6" name="Rectangle: Rounded Corners 5">
            <a:extLst>
              <a:ext uri="{FF2B5EF4-FFF2-40B4-BE49-F238E27FC236}">
                <a16:creationId xmlns:a16="http://schemas.microsoft.com/office/drawing/2014/main" id="{EF81232C-3358-116F-BFAE-CAEC927514CA}"/>
              </a:ext>
            </a:extLst>
          </p:cNvPr>
          <p:cNvSpPr/>
          <p:nvPr/>
        </p:nvSpPr>
        <p:spPr>
          <a:xfrm>
            <a:off x="6176775" y="1412875"/>
            <a:ext cx="5607238" cy="2450775"/>
          </a:xfrm>
          <a:prstGeom prst="roundRect">
            <a:avLst>
              <a:gd name="adj" fmla="val 5233"/>
            </a:avLst>
          </a:prstGeom>
          <a:solidFill>
            <a:schemeClr val="bg1"/>
          </a:solidFill>
          <a:ln w="9525">
            <a:solidFill>
              <a:srgbClr val="DDDDD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Ubuntu"/>
                <a:ea typeface="+mn-ea"/>
                <a:cs typeface="+mn-cs"/>
              </a:rPr>
              <a:t>Custom Generative AI for Enterprise</a:t>
            </a:r>
          </a:p>
        </p:txBody>
      </p:sp>
      <p:sp>
        <p:nvSpPr>
          <p:cNvPr id="12" name="Rectangle: Rounded Corners 11">
            <a:extLst>
              <a:ext uri="{FF2B5EF4-FFF2-40B4-BE49-F238E27FC236}">
                <a16:creationId xmlns:a16="http://schemas.microsoft.com/office/drawing/2014/main" id="{F9D7E0E4-E5DE-9169-1D6C-196CFCB70BB2}"/>
              </a:ext>
            </a:extLst>
          </p:cNvPr>
          <p:cNvSpPr/>
          <p:nvPr/>
        </p:nvSpPr>
        <p:spPr>
          <a:xfrm>
            <a:off x="414971" y="4002413"/>
            <a:ext cx="5607238" cy="2450775"/>
          </a:xfrm>
          <a:prstGeom prst="roundRect">
            <a:avLst>
              <a:gd name="adj" fmla="val 5233"/>
            </a:avLst>
          </a:prstGeom>
          <a:solidFill>
            <a:schemeClr val="bg1"/>
          </a:solidFill>
          <a:ln w="9525">
            <a:solidFill>
              <a:srgbClr val="DDDDD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Ubuntu"/>
                <a:ea typeface="+mn-ea"/>
                <a:cs typeface="+mn-cs"/>
              </a:rPr>
              <a:t>Generative AI for Customer Experience</a:t>
            </a:r>
          </a:p>
        </p:txBody>
      </p:sp>
      <p:sp>
        <p:nvSpPr>
          <p:cNvPr id="14" name="Rectangle: Rounded Corners 13">
            <a:extLst>
              <a:ext uri="{FF2B5EF4-FFF2-40B4-BE49-F238E27FC236}">
                <a16:creationId xmlns:a16="http://schemas.microsoft.com/office/drawing/2014/main" id="{4A7770E5-AEC1-B562-9253-C739E041D9F6}"/>
              </a:ext>
            </a:extLst>
          </p:cNvPr>
          <p:cNvSpPr/>
          <p:nvPr/>
        </p:nvSpPr>
        <p:spPr>
          <a:xfrm>
            <a:off x="6176775" y="4002413"/>
            <a:ext cx="5607238" cy="2450775"/>
          </a:xfrm>
          <a:prstGeom prst="roundRect">
            <a:avLst>
              <a:gd name="adj" fmla="val 5233"/>
            </a:avLst>
          </a:prstGeom>
          <a:solidFill>
            <a:schemeClr val="bg1"/>
          </a:solidFill>
          <a:ln w="9525">
            <a:solidFill>
              <a:srgbClr val="DDDDD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Ubuntu"/>
                <a:ea typeface="+mn-ea"/>
                <a:cs typeface="+mn-cs"/>
              </a:rPr>
              <a:t>Generative AI for Software Engineering</a:t>
            </a:r>
          </a:p>
        </p:txBody>
      </p:sp>
      <p:pic>
        <p:nvPicPr>
          <p:cNvPr id="25" name="Image 3">
            <a:extLst>
              <a:ext uri="{FF2B5EF4-FFF2-40B4-BE49-F238E27FC236}">
                <a16:creationId xmlns:a16="http://schemas.microsoft.com/office/drawing/2014/main" id="{3CE78CE7-D3FD-D588-3F53-493F693FAE9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9706" y="2002184"/>
            <a:ext cx="1987397" cy="1115386"/>
          </a:xfrm>
          <a:prstGeom prst="rect">
            <a:avLst/>
          </a:prstGeom>
        </p:spPr>
      </p:pic>
      <p:sp>
        <p:nvSpPr>
          <p:cNvPr id="26" name="ZoneTexte 7">
            <a:extLst>
              <a:ext uri="{FF2B5EF4-FFF2-40B4-BE49-F238E27FC236}">
                <a16:creationId xmlns:a16="http://schemas.microsoft.com/office/drawing/2014/main" id="{E4647EC7-D395-D001-93CD-ED8A2D4F79E9}"/>
              </a:ext>
            </a:extLst>
          </p:cNvPr>
          <p:cNvSpPr txBox="1"/>
          <p:nvPr/>
        </p:nvSpPr>
        <p:spPr>
          <a:xfrm>
            <a:off x="2971699" y="1951493"/>
            <a:ext cx="2933824" cy="1911017"/>
          </a:xfrm>
          <a:prstGeom prst="rect">
            <a:avLst/>
          </a:prstGeom>
        </p:spPr>
        <p:txBody>
          <a:bodyPr vert="horz" lIns="0" tIns="0" rIns="0" bIns="0" rtlCol="0" anchor="t">
            <a:noAutofit/>
          </a:bodyPr>
          <a:lstStyle>
            <a:defPPr>
              <a:defRPr lang="fr-FR"/>
            </a:defPPr>
            <a:lvl1pPr marR="0" indent="0" fontAlgn="auto">
              <a:lnSpc>
                <a:spcPct val="90000"/>
              </a:lnSpc>
              <a:spcBef>
                <a:spcPct val="0"/>
              </a:spcBef>
              <a:spcAft>
                <a:spcPts val="0"/>
              </a:spcAft>
              <a:buClrTx/>
              <a:buSzTx/>
              <a:buFontTx/>
              <a:buNone/>
              <a:tabLst/>
              <a:defRPr kumimoji="0" sz="2600" b="0" i="0" u="none" strike="noStrike" cap="none" spc="0" normalizeH="0" baseline="0">
                <a:ln>
                  <a:noFill/>
                </a:ln>
                <a:solidFill>
                  <a:schemeClr val="bg1"/>
                </a:solidFill>
                <a:effectLst/>
                <a:uLnTx/>
                <a:uFillTx/>
                <a:latin typeface="+mj-lt"/>
                <a:ea typeface="Times New Roman" panose="02020603050405020304" pitchFamily="18" charset="0"/>
                <a:cs typeface="+mj-cs"/>
              </a:defRPr>
            </a:lvl1pPr>
          </a:lstStyle>
          <a:p>
            <a:pPr marL="0" marR="0" lvl="0" indent="0" defTabSz="914400" rtl="0" eaLnBrk="1" fontAlgn="auto" latinLnBrk="0" hangingPunct="1">
              <a:lnSpc>
                <a:spcPct val="100000"/>
              </a:lnSpc>
              <a:spcBef>
                <a:spcPct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Ubuntu"/>
                <a:cs typeface="+mj-cs"/>
              </a:rPr>
              <a:t>Enables CXOs to </a:t>
            </a:r>
            <a:r>
              <a:rPr kumimoji="0" lang="en-US" sz="1050" b="1" i="0" u="none" strike="noStrike" kern="1200" cap="none" spc="0" normalizeH="0" baseline="0" noProof="0">
                <a:ln>
                  <a:noFill/>
                </a:ln>
                <a:solidFill>
                  <a:srgbClr val="12ABDB"/>
                </a:solidFill>
                <a:effectLst/>
                <a:uLnTx/>
                <a:uFillTx/>
                <a:latin typeface="Ubuntu"/>
                <a:cs typeface="+mj-cs"/>
              </a:rPr>
              <a:t>define and prioritize the most relevant generative AI use cases </a:t>
            </a:r>
            <a:r>
              <a:rPr kumimoji="0" lang="en-US" sz="1050" b="0" i="0" u="none" strike="noStrike" kern="1200" cap="none" spc="0" normalizeH="0" baseline="0" noProof="0">
                <a:ln>
                  <a:noFill/>
                </a:ln>
                <a:solidFill>
                  <a:schemeClr val="tx1"/>
                </a:solidFill>
                <a:effectLst/>
                <a:uLnTx/>
                <a:uFillTx/>
                <a:latin typeface="Ubuntu"/>
                <a:cs typeface="+mj-cs"/>
              </a:rPr>
              <a:t>for their business, </a:t>
            </a:r>
            <a:r>
              <a:rPr kumimoji="0" lang="en-US" sz="1050" b="1" i="0" u="none" strike="noStrike" kern="1200" cap="none" spc="0" normalizeH="0" baseline="0" noProof="0">
                <a:ln>
                  <a:noFill/>
                </a:ln>
                <a:solidFill>
                  <a:srgbClr val="12ABDB"/>
                </a:solidFill>
                <a:effectLst/>
                <a:uLnTx/>
                <a:uFillTx/>
                <a:latin typeface="Ubuntu"/>
                <a:cs typeface="+mj-cs"/>
              </a:rPr>
              <a:t>demonstrate the tangible value </a:t>
            </a:r>
            <a:r>
              <a:rPr kumimoji="0" lang="en-US" sz="1050" b="0" i="0" u="none" strike="noStrike" kern="1200" cap="none" spc="0" normalizeH="0" baseline="0" noProof="0">
                <a:ln>
                  <a:noFill/>
                </a:ln>
                <a:solidFill>
                  <a:schemeClr val="tx1"/>
                </a:solidFill>
                <a:effectLst/>
                <a:uLnTx/>
                <a:uFillTx/>
                <a:latin typeface="Ubuntu"/>
                <a:cs typeface="+mj-cs"/>
              </a:rPr>
              <a:t>that can be achieved, and lay the</a:t>
            </a:r>
            <a:r>
              <a:rPr kumimoji="0" lang="en-US" sz="1050" b="0" i="0" u="none" strike="noStrike" kern="1200" cap="none" spc="0" normalizeH="0" baseline="0" noProof="0">
                <a:ln>
                  <a:noFill/>
                </a:ln>
                <a:solidFill>
                  <a:srgbClr val="FFFFFF"/>
                </a:solidFill>
                <a:effectLst/>
                <a:uLnTx/>
                <a:uFillTx/>
                <a:latin typeface="Ubuntu"/>
                <a:cs typeface="+mj-cs"/>
              </a:rPr>
              <a:t> </a:t>
            </a:r>
            <a:r>
              <a:rPr kumimoji="0" lang="en-US" sz="1050" b="1" i="0" u="none" strike="noStrike" kern="1200" cap="none" spc="0" normalizeH="0" baseline="0" noProof="0">
                <a:ln>
                  <a:noFill/>
                </a:ln>
                <a:solidFill>
                  <a:srgbClr val="12ABDB"/>
                </a:solidFill>
                <a:effectLst/>
                <a:uLnTx/>
                <a:uFillTx/>
                <a:latin typeface="Ubuntu"/>
                <a:cs typeface="+mj-cs"/>
              </a:rPr>
              <a:t>right foundations</a:t>
            </a:r>
            <a:r>
              <a:rPr kumimoji="0" lang="en-US" sz="1050" b="1" i="0" u="none" strike="noStrike" kern="1200" cap="none" spc="0" normalizeH="0" baseline="0" noProof="0">
                <a:ln>
                  <a:noFill/>
                </a:ln>
                <a:solidFill>
                  <a:srgbClr val="FFFFFF"/>
                </a:solidFill>
                <a:effectLst/>
                <a:uLnTx/>
                <a:uFillTx/>
                <a:latin typeface="Ubuntu"/>
                <a:cs typeface="+mj-cs"/>
              </a:rPr>
              <a:t> </a:t>
            </a:r>
            <a:r>
              <a:rPr kumimoji="0" lang="en-US" sz="1050" b="0" i="0" u="none" strike="noStrike" kern="1200" cap="none" spc="0" normalizeH="0" baseline="0" noProof="0">
                <a:ln>
                  <a:noFill/>
                </a:ln>
                <a:solidFill>
                  <a:schemeClr val="tx1"/>
                </a:solidFill>
                <a:effectLst/>
                <a:uLnTx/>
                <a:uFillTx/>
                <a:latin typeface="Ubuntu"/>
                <a:cs typeface="+mj-cs"/>
              </a:rPr>
              <a:t>in terms of people, process and technology for scaling their generative AI investments while mitigating the risks.</a:t>
            </a:r>
            <a:endParaRPr kumimoji="0" lang="en-US" sz="1050" b="0" i="0" u="none" strike="noStrike" kern="1200" cap="none" spc="0" normalizeH="0" baseline="0" noProof="0">
              <a:ln>
                <a:noFill/>
              </a:ln>
              <a:solidFill>
                <a:schemeClr val="tx1"/>
              </a:solidFill>
              <a:effectLst/>
              <a:uLnTx/>
              <a:uFillTx/>
              <a:latin typeface="Ubuntu"/>
              <a:cs typeface="+mj-cs"/>
              <a:hlinkClick r:id="rId4">
                <a:extLst>
                  <a:ext uri="{A12FA001-AC4F-418D-AE19-62706E023703}">
                    <ahyp:hlinkClr xmlns:ahyp="http://schemas.microsoft.com/office/drawing/2018/hyperlinkcolor" val="tx"/>
                  </a:ext>
                </a:extLst>
              </a:hlinkClick>
            </a:endParaRPr>
          </a:p>
        </p:txBody>
      </p:sp>
      <p:pic>
        <p:nvPicPr>
          <p:cNvPr id="31" name="Image 39">
            <a:extLst>
              <a:ext uri="{FF2B5EF4-FFF2-40B4-BE49-F238E27FC236}">
                <a16:creationId xmlns:a16="http://schemas.microsoft.com/office/drawing/2014/main" id="{FF255B62-C193-D181-EC00-FAAD8943F9C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65984" y="2267427"/>
            <a:ext cx="1951149" cy="1098470"/>
          </a:xfrm>
          <a:prstGeom prst="rect">
            <a:avLst/>
          </a:prstGeom>
        </p:spPr>
      </p:pic>
      <p:sp>
        <p:nvSpPr>
          <p:cNvPr id="35" name="ZoneTexte 12">
            <a:extLst>
              <a:ext uri="{FF2B5EF4-FFF2-40B4-BE49-F238E27FC236}">
                <a16:creationId xmlns:a16="http://schemas.microsoft.com/office/drawing/2014/main" id="{6A072CD2-41A1-33E9-BB6C-222BFA91B9A0}"/>
              </a:ext>
            </a:extLst>
          </p:cNvPr>
          <p:cNvSpPr txBox="1"/>
          <p:nvPr/>
        </p:nvSpPr>
        <p:spPr>
          <a:xfrm>
            <a:off x="8524472" y="1951493"/>
            <a:ext cx="3157821" cy="1879437"/>
          </a:xfrm>
          <a:prstGeom prst="rect">
            <a:avLst/>
          </a:prstGeom>
        </p:spPr>
        <p:txBody>
          <a:bodyPr vert="horz" lIns="0" tIns="0" rIns="0" bIns="0" rtlCol="0" anchor="t">
            <a:noAutofit/>
          </a:bodyPr>
          <a:lstStyle>
            <a:defPPr>
              <a:defRPr lang="fr-FR"/>
            </a:defPPr>
            <a:lvl1pPr marR="0" indent="0" fontAlgn="auto">
              <a:lnSpc>
                <a:spcPct val="90000"/>
              </a:lnSpc>
              <a:spcBef>
                <a:spcPct val="0"/>
              </a:spcBef>
              <a:spcAft>
                <a:spcPts val="0"/>
              </a:spcAft>
              <a:buClrTx/>
              <a:buSzTx/>
              <a:buFontTx/>
              <a:buNone/>
              <a:tabLst/>
              <a:defRPr kumimoji="0" sz="2600" b="0" i="0" u="none" strike="noStrike" cap="none" spc="0" normalizeH="0" baseline="0">
                <a:ln>
                  <a:noFill/>
                </a:ln>
                <a:solidFill>
                  <a:schemeClr val="bg1"/>
                </a:solidFill>
                <a:effectLst/>
                <a:uLnTx/>
                <a:uFillTx/>
                <a:latin typeface="+mj-lt"/>
                <a:ea typeface="Times New Roman" panose="02020603050405020304" pitchFamily="18" charset="0"/>
                <a:cs typeface="+mj-cs"/>
              </a:defRPr>
            </a:lvl1pPr>
          </a:lstStyle>
          <a:p>
            <a:pPr marL="0" marR="0" lvl="0" indent="0" defTabSz="914400" rtl="0" eaLnBrk="1" fontAlgn="auto" latinLnBrk="0" hangingPunct="1">
              <a:lnSpc>
                <a:spcPct val="100000"/>
              </a:lnSpc>
              <a:spcBef>
                <a:spcPct val="0"/>
              </a:spcBef>
              <a:spcAft>
                <a:spcPts val="300"/>
              </a:spcAft>
              <a:buClrTx/>
              <a:buSzTx/>
              <a:buFontTx/>
              <a:buNone/>
              <a:tabLst/>
              <a:defRPr/>
            </a:pPr>
            <a:r>
              <a:rPr kumimoji="0" lang="en-US" sz="1050" b="0" i="0" u="none" strike="noStrike" kern="1200" cap="none" spc="0" normalizeH="0" baseline="0" noProof="0">
                <a:ln>
                  <a:noFill/>
                </a:ln>
                <a:solidFill>
                  <a:schemeClr val="tx1"/>
                </a:solidFill>
                <a:effectLst/>
                <a:uLnTx/>
                <a:uFillTx/>
                <a:latin typeface="Ubuntu"/>
                <a:cs typeface="+mj-cs"/>
              </a:rPr>
              <a:t>Custom Generative AI for Enterprise by Capgemini is different. It’s a ring-fenced, environment that elevates and focuses on your excellence to unleash creativity through the power of technology.</a:t>
            </a:r>
          </a:p>
          <a:p>
            <a:pPr marL="0" marR="0" lvl="0" indent="0" defTabSz="914400" rtl="0" eaLnBrk="1" fontAlgn="auto" latinLnBrk="0" hangingPunct="1">
              <a:lnSpc>
                <a:spcPct val="100000"/>
              </a:lnSpc>
              <a:spcBef>
                <a:spcPct val="0"/>
              </a:spcBef>
              <a:spcAft>
                <a:spcPts val="300"/>
              </a:spcAft>
              <a:buClrTx/>
              <a:buSzTx/>
              <a:buFontTx/>
              <a:buNone/>
              <a:tabLst/>
              <a:defRPr/>
            </a:pPr>
            <a:r>
              <a:rPr kumimoji="0" lang="en-US" sz="1050" b="0" i="0" u="none" strike="noStrike" kern="1200" cap="none" spc="0" normalizeH="0" baseline="0" noProof="0">
                <a:ln>
                  <a:noFill/>
                </a:ln>
                <a:solidFill>
                  <a:schemeClr val="tx1"/>
                </a:solidFill>
                <a:effectLst/>
                <a:uLnTx/>
                <a:uFillTx/>
                <a:latin typeface="Ubuntu"/>
                <a:cs typeface="+mj-cs"/>
              </a:rPr>
              <a:t>With Custom Generative AI for Enterprise, we help enterprises move from a standard risked usage of generic public large models to a </a:t>
            </a:r>
            <a:r>
              <a:rPr kumimoji="0" lang="en-US" sz="1050" b="1" i="0" u="none" strike="noStrike" kern="1200" cap="none" spc="0" normalizeH="0" baseline="0" noProof="0">
                <a:ln>
                  <a:noFill/>
                </a:ln>
                <a:solidFill>
                  <a:srgbClr val="12ABDB"/>
                </a:solidFill>
                <a:effectLst/>
                <a:uLnTx/>
                <a:uFillTx/>
                <a:latin typeface="Ubuntu"/>
                <a:cs typeface="+mj-cs"/>
              </a:rPr>
              <a:t>tailored and trusted solution based on the use of their data</a:t>
            </a:r>
            <a:r>
              <a:rPr kumimoji="0" lang="en-US" sz="1050" b="0" i="0" u="none" strike="noStrike" kern="1200" cap="none" spc="0" normalizeH="0" baseline="0" noProof="0">
                <a:ln>
                  <a:noFill/>
                </a:ln>
                <a:solidFill>
                  <a:srgbClr val="FFFFFF"/>
                </a:solidFill>
                <a:effectLst/>
                <a:uLnTx/>
                <a:uFillTx/>
                <a:latin typeface="Ubuntu"/>
                <a:cs typeface="+mj-cs"/>
              </a:rPr>
              <a:t> </a:t>
            </a:r>
            <a:r>
              <a:rPr kumimoji="0" lang="en-US" sz="1050" b="0" i="0" u="none" strike="noStrike" kern="1200" cap="none" spc="0" normalizeH="0" baseline="0" noProof="0">
                <a:ln>
                  <a:noFill/>
                </a:ln>
                <a:solidFill>
                  <a:schemeClr val="tx1"/>
                </a:solidFill>
                <a:effectLst/>
                <a:uLnTx/>
                <a:uFillTx/>
                <a:latin typeface="Ubuntu"/>
                <a:cs typeface="+mj-cs"/>
              </a:rPr>
              <a:t>and their company knowledge, with reliable outputs creating significant tangible outcomes. </a:t>
            </a:r>
            <a:endParaRPr kumimoji="0" lang="en-US" sz="1050" b="0" i="0" u="none" strike="noStrike" kern="1200" cap="none" spc="0" normalizeH="0" baseline="0" noProof="0">
              <a:ln>
                <a:noFill/>
              </a:ln>
              <a:solidFill>
                <a:schemeClr val="tx1"/>
              </a:solidFill>
              <a:effectLst/>
              <a:uLnTx/>
              <a:uFillTx/>
              <a:latin typeface="Ubuntu"/>
            </a:endParaRPr>
          </a:p>
        </p:txBody>
      </p:sp>
      <p:pic>
        <p:nvPicPr>
          <p:cNvPr id="37" name="Picture 2">
            <a:extLst>
              <a:ext uri="{FF2B5EF4-FFF2-40B4-BE49-F238E27FC236}">
                <a16:creationId xmlns:a16="http://schemas.microsoft.com/office/drawing/2014/main" id="{FF73539F-0D21-E252-8C1D-8F0802992540}"/>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319856" y="2002184"/>
            <a:ext cx="1885582" cy="1178489"/>
          </a:xfrm>
          <a:prstGeom prst="rect">
            <a:avLst/>
          </a:prstGeom>
          <a:noFill/>
          <a:extLst>
            <a:ext uri="{909E8E84-426E-40DD-AFC4-6F175D3DCCD1}">
              <a14:hiddenFill xmlns:a14="http://schemas.microsoft.com/office/drawing/2010/main">
                <a:solidFill>
                  <a:srgbClr val="FFFFFF"/>
                </a:solidFill>
              </a14:hiddenFill>
            </a:ext>
          </a:extLst>
        </p:spPr>
      </p:pic>
      <p:pic>
        <p:nvPicPr>
          <p:cNvPr id="38" name="Image 32">
            <a:extLst>
              <a:ext uri="{FF2B5EF4-FFF2-40B4-BE49-F238E27FC236}">
                <a16:creationId xmlns:a16="http://schemas.microsoft.com/office/drawing/2014/main" id="{011C9792-0CFF-3F53-CC2A-6ABA86FE0AE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36850" y="4500569"/>
            <a:ext cx="1967824" cy="1102660"/>
          </a:xfrm>
          <a:prstGeom prst="rect">
            <a:avLst/>
          </a:prstGeom>
          <a:ln>
            <a:noFill/>
          </a:ln>
          <a:effectLst/>
        </p:spPr>
      </p:pic>
      <p:sp>
        <p:nvSpPr>
          <p:cNvPr id="39" name="ZoneTexte 19">
            <a:extLst>
              <a:ext uri="{FF2B5EF4-FFF2-40B4-BE49-F238E27FC236}">
                <a16:creationId xmlns:a16="http://schemas.microsoft.com/office/drawing/2014/main" id="{BFB6B5CB-A6B5-7683-2B46-F2FA18763F24}"/>
              </a:ext>
            </a:extLst>
          </p:cNvPr>
          <p:cNvSpPr txBox="1"/>
          <p:nvPr/>
        </p:nvSpPr>
        <p:spPr>
          <a:xfrm>
            <a:off x="2971699" y="4432709"/>
            <a:ext cx="2933824" cy="2020478"/>
          </a:xfrm>
          <a:prstGeom prst="rect">
            <a:avLst/>
          </a:prstGeom>
        </p:spPr>
        <p:txBody>
          <a:bodyPr vert="horz" lIns="0" tIns="0" rIns="0" bIns="0" rtlCol="0" anchor="t">
            <a:noAutofit/>
          </a:bodyPr>
          <a:lstStyle>
            <a:defPPr>
              <a:defRPr lang="fr-FR"/>
            </a:defPPr>
            <a:lvl1pPr marR="0" indent="0" fontAlgn="auto">
              <a:lnSpc>
                <a:spcPct val="90000"/>
              </a:lnSpc>
              <a:spcBef>
                <a:spcPct val="0"/>
              </a:spcBef>
              <a:spcAft>
                <a:spcPts val="0"/>
              </a:spcAft>
              <a:buClrTx/>
              <a:buSzTx/>
              <a:buFontTx/>
              <a:buNone/>
              <a:tabLst/>
              <a:defRPr kumimoji="0" sz="2000" b="0" i="0" u="none" strike="noStrike" cap="none" spc="0" normalizeH="0" baseline="0">
                <a:ln>
                  <a:noFill/>
                </a:ln>
                <a:solidFill>
                  <a:schemeClr val="bg1"/>
                </a:solidFill>
                <a:effectLst/>
                <a:uLnTx/>
                <a:uFillTx/>
                <a:latin typeface="+mj-lt"/>
                <a:ea typeface="Times New Roman" panose="02020603050405020304" pitchFamily="18" charset="0"/>
                <a:cs typeface="+mj-cs"/>
              </a:defRPr>
            </a:lvl1pPr>
          </a:lstStyle>
          <a:p>
            <a:pPr marL="0" marR="0" lvl="0" indent="0" defTabSz="914400" rtl="0" eaLnBrk="1" fontAlgn="auto" latinLnBrk="0" hangingPunct="1">
              <a:lnSpc>
                <a:spcPct val="100000"/>
              </a:lnSpc>
              <a:spcBef>
                <a:spcPct val="0"/>
              </a:spcBef>
              <a:spcAft>
                <a:spcPts val="0"/>
              </a:spcAft>
              <a:buClrTx/>
              <a:buSzTx/>
              <a:buFontTx/>
              <a:buNone/>
              <a:tabLst/>
              <a:defRPr/>
            </a:pPr>
            <a:r>
              <a:rPr kumimoji="0" lang="en-US" sz="1050" b="1" i="0" u="none" strike="noStrike" kern="1200" cap="none" spc="0" normalizeH="0" baseline="0" noProof="0">
                <a:ln>
                  <a:noFill/>
                </a:ln>
                <a:solidFill>
                  <a:srgbClr val="12ABDB"/>
                </a:solidFill>
                <a:effectLst/>
                <a:uLnTx/>
                <a:uFillTx/>
                <a:latin typeface="Ubuntu"/>
                <a:cs typeface="+mj-cs"/>
              </a:rPr>
              <a:t>Enhances customer experience</a:t>
            </a:r>
            <a:r>
              <a:rPr kumimoji="0" lang="en-US" sz="1050" b="1" i="0" u="none" strike="noStrike" kern="1200" cap="none" spc="0" normalizeH="0" baseline="0" noProof="0">
                <a:ln>
                  <a:noFill/>
                </a:ln>
                <a:solidFill>
                  <a:srgbClr val="FFFFFF"/>
                </a:solidFill>
                <a:effectLst/>
                <a:uLnTx/>
                <a:uFillTx/>
                <a:latin typeface="Ubuntu"/>
                <a:cs typeface="+mj-cs"/>
              </a:rPr>
              <a:t> </a:t>
            </a:r>
            <a:br>
              <a:rPr kumimoji="0" lang="en-US" sz="1050" b="1" i="0" u="none" strike="noStrike" kern="1200" cap="none" spc="0" normalizeH="0" baseline="0" noProof="0">
                <a:ln>
                  <a:noFill/>
                </a:ln>
                <a:solidFill>
                  <a:srgbClr val="FFFFFF"/>
                </a:solidFill>
                <a:effectLst/>
                <a:uLnTx/>
                <a:uFillTx/>
                <a:latin typeface="Ubuntu"/>
                <a:cs typeface="+mj-cs"/>
              </a:rPr>
            </a:br>
            <a:r>
              <a:rPr kumimoji="0" lang="en-US" sz="1050" b="0" i="0" u="none" strike="noStrike" kern="1200" cap="none" spc="0" normalizeH="0" baseline="0" noProof="0">
                <a:ln>
                  <a:noFill/>
                </a:ln>
                <a:solidFill>
                  <a:schemeClr val="tx1"/>
                </a:solidFill>
                <a:effectLst/>
                <a:uLnTx/>
                <a:uFillTx/>
                <a:latin typeface="Ubuntu"/>
                <a:cs typeface="+mj-cs"/>
              </a:rPr>
              <a:t>with 4 dedicated generative AI assistants.</a:t>
            </a:r>
          </a:p>
          <a:p>
            <a:pPr marL="0" marR="0" lvl="0" indent="0" defTabSz="914400" rtl="0" eaLnBrk="1" fontAlgn="auto" latinLnBrk="0" hangingPunct="1">
              <a:lnSpc>
                <a:spcPct val="100000"/>
              </a:lnSpc>
              <a:spcBef>
                <a:spcPct val="0"/>
              </a:spcBef>
              <a:spcAft>
                <a:spcPts val="0"/>
              </a:spcAft>
              <a:buClrTx/>
              <a:buSzTx/>
              <a:buFontTx/>
              <a:buNone/>
              <a:tabLst/>
              <a:defRPr/>
            </a:pPr>
            <a:r>
              <a:rPr kumimoji="0" lang="en-US" sz="1050" b="0" i="0" u="none" strike="noStrike" kern="1200" cap="none" spc="0" normalizeH="0" baseline="0" noProof="0">
                <a:ln>
                  <a:noFill/>
                </a:ln>
                <a:solidFill>
                  <a:schemeClr val="tx1"/>
                </a:solidFill>
                <a:effectLst/>
                <a:uLnTx/>
                <a:uFillTx/>
                <a:latin typeface="Ubuntu"/>
                <a:cs typeface="+mj-cs"/>
              </a:rPr>
              <a:t>It allows hyper-personalized customer experience with a synthetic design assistant, elevates customer self-service with personalized chatbots, augments customer care services with a content and knowledge assistant and boosts sales teams performance with a product &amp; offers knowledge assistant.</a:t>
            </a:r>
          </a:p>
        </p:txBody>
      </p:sp>
      <p:pic>
        <p:nvPicPr>
          <p:cNvPr id="41" name="Image 26">
            <a:extLst>
              <a:ext uri="{FF2B5EF4-FFF2-40B4-BE49-F238E27FC236}">
                <a16:creationId xmlns:a16="http://schemas.microsoft.com/office/drawing/2014/main" id="{2597731D-42B0-CAAB-1E5E-5110ED3BB1E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74263" y="4667826"/>
            <a:ext cx="1963923" cy="1104899"/>
          </a:xfrm>
          <a:prstGeom prst="rect">
            <a:avLst/>
          </a:prstGeom>
          <a:ln>
            <a:noFill/>
          </a:ln>
          <a:effectLst/>
        </p:spPr>
      </p:pic>
      <p:sp>
        <p:nvSpPr>
          <p:cNvPr id="42" name="ZoneTexte 17">
            <a:extLst>
              <a:ext uri="{FF2B5EF4-FFF2-40B4-BE49-F238E27FC236}">
                <a16:creationId xmlns:a16="http://schemas.microsoft.com/office/drawing/2014/main" id="{B5C19F87-8271-8C46-D63A-21FBCAC7A7B4}"/>
              </a:ext>
            </a:extLst>
          </p:cNvPr>
          <p:cNvSpPr txBox="1"/>
          <p:nvPr/>
        </p:nvSpPr>
        <p:spPr>
          <a:xfrm>
            <a:off x="8524472" y="4432709"/>
            <a:ext cx="3157822" cy="1983870"/>
          </a:xfrm>
          <a:prstGeom prst="rect">
            <a:avLst/>
          </a:prstGeom>
        </p:spPr>
        <p:txBody>
          <a:bodyPr vert="horz" lIns="0" tIns="0" rIns="0" bIns="0" rtlCol="0" anchor="t">
            <a:noAutofit/>
          </a:bodyPr>
          <a:lstStyle>
            <a:defPPr>
              <a:defRPr lang="fr-FR"/>
            </a:defPPr>
            <a:lvl1pPr marR="0" indent="0" fontAlgn="auto">
              <a:lnSpc>
                <a:spcPct val="90000"/>
              </a:lnSpc>
              <a:spcBef>
                <a:spcPct val="0"/>
              </a:spcBef>
              <a:spcAft>
                <a:spcPts val="0"/>
              </a:spcAft>
              <a:buClrTx/>
              <a:buSzTx/>
              <a:buFontTx/>
              <a:buNone/>
              <a:tabLst/>
              <a:defRPr kumimoji="0" sz="2000" b="0" i="0" u="none" strike="noStrike" cap="none" spc="0" normalizeH="0" baseline="0">
                <a:ln>
                  <a:noFill/>
                </a:ln>
                <a:solidFill>
                  <a:schemeClr val="bg1"/>
                </a:solidFill>
                <a:effectLst/>
                <a:uLnTx/>
                <a:uFillTx/>
                <a:latin typeface="+mj-lt"/>
                <a:ea typeface="Times New Roman" panose="02020603050405020304" pitchFamily="18" charset="0"/>
                <a:cs typeface="+mj-cs"/>
              </a:defRPr>
            </a:lvl1pPr>
          </a:lstStyle>
          <a:p>
            <a:pPr marL="0" marR="0" lvl="0" indent="0" defTabSz="914400" rtl="0" eaLnBrk="1" fontAlgn="auto" latinLnBrk="0" hangingPunct="1">
              <a:lnSpc>
                <a:spcPct val="100000"/>
              </a:lnSpc>
              <a:spcBef>
                <a:spcPct val="0"/>
              </a:spcBef>
              <a:spcAft>
                <a:spcPts val="300"/>
              </a:spcAft>
              <a:buClrTx/>
              <a:buSzTx/>
              <a:buFontTx/>
              <a:buNone/>
              <a:tabLst/>
              <a:defRPr/>
            </a:pPr>
            <a:r>
              <a:rPr kumimoji="0" lang="en-US" sz="1050" b="1" i="0" u="none" strike="noStrike" kern="1200" cap="none" spc="0" normalizeH="0" baseline="0" noProof="0">
                <a:ln>
                  <a:noFill/>
                </a:ln>
                <a:solidFill>
                  <a:srgbClr val="12ABDB"/>
                </a:solidFill>
                <a:effectLst/>
                <a:uLnTx/>
                <a:uFillTx/>
                <a:latin typeface="Ubuntu"/>
                <a:cs typeface="+mj-cs"/>
              </a:rPr>
              <a:t>Helps improve efficiency and quality across the whole software life cycle</a:t>
            </a:r>
            <a:r>
              <a:rPr kumimoji="0" lang="en-US" sz="1050" b="0" i="0" u="none" strike="noStrike" kern="1200" cap="none" spc="0" normalizeH="0" baseline="0" noProof="0">
                <a:ln>
                  <a:noFill/>
                </a:ln>
                <a:solidFill>
                  <a:srgbClr val="12ABDB"/>
                </a:solidFill>
                <a:effectLst/>
                <a:uLnTx/>
                <a:uFillTx/>
                <a:latin typeface="Ubuntu"/>
                <a:cs typeface="+mj-cs"/>
              </a:rPr>
              <a:t> </a:t>
            </a:r>
            <a:r>
              <a:rPr kumimoji="0" lang="en-US" sz="1050" b="0" i="0" u="none" strike="noStrike" kern="1200" cap="none" spc="0" normalizeH="0" baseline="0" noProof="0">
                <a:ln>
                  <a:noFill/>
                </a:ln>
                <a:solidFill>
                  <a:schemeClr val="tx1"/>
                </a:solidFill>
                <a:effectLst/>
                <a:uLnTx/>
                <a:uFillTx/>
                <a:latin typeface="Ubuntu"/>
                <a:cs typeface="+mj-cs"/>
              </a:rPr>
              <a:t>(from design and coding to documentation, testing, deployment, and operations),</a:t>
            </a:r>
            <a:r>
              <a:rPr kumimoji="0" lang="en-US" sz="1050" b="0" i="0" u="none" strike="noStrike" kern="1200" cap="none" spc="0" normalizeH="0" baseline="0" noProof="0">
                <a:ln>
                  <a:noFill/>
                </a:ln>
                <a:solidFill>
                  <a:srgbClr val="FFFFFF"/>
                </a:solidFill>
                <a:effectLst/>
                <a:uLnTx/>
                <a:uFillTx/>
                <a:latin typeface="Ubuntu"/>
                <a:cs typeface="+mj-cs"/>
              </a:rPr>
              <a:t> </a:t>
            </a:r>
            <a:r>
              <a:rPr kumimoji="0" lang="en-US" sz="1050" b="1" i="0" u="none" strike="noStrike" kern="1200" cap="none" spc="0" normalizeH="0" baseline="0" noProof="0">
                <a:ln>
                  <a:noFill/>
                </a:ln>
                <a:solidFill>
                  <a:srgbClr val="12ABDB"/>
                </a:solidFill>
                <a:effectLst/>
                <a:uLnTx/>
                <a:uFillTx/>
                <a:latin typeface="Ubuntu"/>
                <a:cs typeface="+mj-cs"/>
              </a:rPr>
              <a:t>accelerate the time to market</a:t>
            </a:r>
            <a:r>
              <a:rPr kumimoji="0" lang="en-US" sz="1050" b="1" i="0" u="none" strike="noStrike" kern="1200" cap="none" spc="0" normalizeH="0" baseline="0" noProof="0">
                <a:ln>
                  <a:noFill/>
                </a:ln>
                <a:solidFill>
                  <a:srgbClr val="FFFFFF"/>
                </a:solidFill>
                <a:effectLst/>
                <a:uLnTx/>
                <a:uFillTx/>
                <a:latin typeface="Ubuntu"/>
                <a:cs typeface="+mj-cs"/>
              </a:rPr>
              <a:t> </a:t>
            </a:r>
            <a:br>
              <a:rPr kumimoji="0" lang="en-US" sz="1050" b="1" i="0" u="none" strike="noStrike" kern="1200" cap="none" spc="0" normalizeH="0" baseline="0" noProof="0">
                <a:ln>
                  <a:noFill/>
                </a:ln>
                <a:solidFill>
                  <a:srgbClr val="FFFFFF"/>
                </a:solidFill>
                <a:effectLst/>
                <a:uLnTx/>
                <a:uFillTx/>
                <a:latin typeface="Ubuntu"/>
                <a:cs typeface="+mj-cs"/>
              </a:rPr>
            </a:br>
            <a:r>
              <a:rPr kumimoji="0" lang="en-US" sz="1050" b="0" i="0" u="none" strike="noStrike" kern="1200" cap="none" spc="0" normalizeH="0" baseline="0" noProof="0">
                <a:ln>
                  <a:noFill/>
                </a:ln>
                <a:solidFill>
                  <a:schemeClr val="tx1"/>
                </a:solidFill>
                <a:effectLst/>
                <a:uLnTx/>
                <a:uFillTx/>
                <a:latin typeface="Ubuntu"/>
                <a:cs typeface="+mj-cs"/>
              </a:rPr>
              <a:t>for new software, and reduce the technical debt of enterprises by facilitating large modernization programs of legacy software.</a:t>
            </a:r>
          </a:p>
          <a:p>
            <a:pPr marL="0" marR="0" lvl="0" indent="0" defTabSz="914400" rtl="0" eaLnBrk="1" fontAlgn="auto" latinLnBrk="0" hangingPunct="1">
              <a:lnSpc>
                <a:spcPct val="100000"/>
              </a:lnSpc>
              <a:spcBef>
                <a:spcPct val="0"/>
              </a:spcBef>
              <a:spcAft>
                <a:spcPts val="300"/>
              </a:spcAft>
              <a:buClrTx/>
              <a:buSzTx/>
              <a:buFontTx/>
              <a:buNone/>
              <a:tabLst/>
              <a:defRPr/>
            </a:pPr>
            <a:r>
              <a:rPr kumimoji="0" lang="en-US" sz="1050" b="0" i="0" u="none" strike="noStrike" kern="1200" cap="none" spc="0" normalizeH="0" baseline="0" noProof="0">
                <a:ln>
                  <a:noFill/>
                </a:ln>
                <a:solidFill>
                  <a:schemeClr val="tx1"/>
                </a:solidFill>
                <a:effectLst/>
                <a:uLnTx/>
                <a:uFillTx/>
                <a:latin typeface="Ubuntu"/>
                <a:cs typeface="+mj-cs"/>
              </a:rPr>
              <a:t>It also enables increased security with</a:t>
            </a:r>
            <a:r>
              <a:rPr kumimoji="0" lang="en-US" sz="1050" b="0" i="0" u="none" strike="noStrike" kern="1200" cap="none" spc="0" normalizeH="0" baseline="0" noProof="0">
                <a:ln>
                  <a:noFill/>
                </a:ln>
                <a:solidFill>
                  <a:srgbClr val="FFFFFF"/>
                </a:solidFill>
                <a:effectLst/>
                <a:uLnTx/>
                <a:uFillTx/>
                <a:latin typeface="Ubuntu"/>
                <a:cs typeface="+mj-cs"/>
              </a:rPr>
              <a:t> </a:t>
            </a:r>
            <a:r>
              <a:rPr kumimoji="0" lang="en-US" sz="1050" b="1" i="0" u="none" strike="noStrike" kern="1200" cap="none" spc="0" normalizeH="0" baseline="0" noProof="0">
                <a:ln>
                  <a:noFill/>
                </a:ln>
                <a:solidFill>
                  <a:srgbClr val="12ABDB"/>
                </a:solidFill>
                <a:effectLst/>
                <a:uLnTx/>
                <a:uFillTx/>
                <a:latin typeface="Ubuntu"/>
                <a:cs typeface="+mj-cs"/>
              </a:rPr>
              <a:t>a reduced attack surface by automatically identifying bugs or vulnerabilities </a:t>
            </a:r>
            <a:r>
              <a:rPr kumimoji="0" lang="en-US" sz="1050" b="0" i="0" u="none" strike="noStrike" kern="1200" cap="none" spc="0" normalizeH="0" baseline="0" noProof="0">
                <a:ln>
                  <a:noFill/>
                </a:ln>
                <a:solidFill>
                  <a:schemeClr val="tx1"/>
                </a:solidFill>
                <a:effectLst/>
                <a:uLnTx/>
                <a:uFillTx/>
                <a:latin typeface="Ubuntu"/>
                <a:cs typeface="+mj-cs"/>
              </a:rPr>
              <a:t>and proposing adjustments to software development teams.</a:t>
            </a:r>
          </a:p>
        </p:txBody>
      </p:sp>
      <p:grpSp>
        <p:nvGrpSpPr>
          <p:cNvPr id="48" name="Group 47">
            <a:extLst>
              <a:ext uri="{FF2B5EF4-FFF2-40B4-BE49-F238E27FC236}">
                <a16:creationId xmlns:a16="http://schemas.microsoft.com/office/drawing/2014/main" id="{A844E0C6-7B9E-13BB-D999-91341E32EC44}"/>
              </a:ext>
            </a:extLst>
          </p:cNvPr>
          <p:cNvGrpSpPr/>
          <p:nvPr/>
        </p:nvGrpSpPr>
        <p:grpSpPr>
          <a:xfrm>
            <a:off x="6308370" y="4536760"/>
            <a:ext cx="2089048" cy="1387795"/>
            <a:chOff x="6308370" y="4536760"/>
            <a:chExt cx="2089048" cy="1387795"/>
          </a:xfrm>
        </p:grpSpPr>
        <p:pic>
          <p:nvPicPr>
            <p:cNvPr id="43" name="Image 29">
              <a:extLst>
                <a:ext uri="{FF2B5EF4-FFF2-40B4-BE49-F238E27FC236}">
                  <a16:creationId xmlns:a16="http://schemas.microsoft.com/office/drawing/2014/main" id="{2BBC3BBD-29C9-5545-60E7-65C998A0F8E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308370" y="4536760"/>
              <a:ext cx="1961994" cy="1104899"/>
            </a:xfrm>
            <a:prstGeom prst="rect">
              <a:avLst/>
            </a:prstGeom>
            <a:ln>
              <a:noFill/>
            </a:ln>
            <a:effectLst/>
          </p:spPr>
        </p:pic>
        <p:pic>
          <p:nvPicPr>
            <p:cNvPr id="44" name="Image 27">
              <a:extLst>
                <a:ext uri="{FF2B5EF4-FFF2-40B4-BE49-F238E27FC236}">
                  <a16:creationId xmlns:a16="http://schemas.microsoft.com/office/drawing/2014/main" id="{8A7CB059-79D3-0233-7DF8-1330EBCDBB4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437401" y="4819656"/>
              <a:ext cx="1960017" cy="1104899"/>
            </a:xfrm>
            <a:prstGeom prst="rect">
              <a:avLst/>
            </a:prstGeom>
            <a:ln>
              <a:noFill/>
            </a:ln>
            <a:effectLst/>
          </p:spPr>
        </p:pic>
      </p:grpSp>
    </p:spTree>
    <p:extLst>
      <p:ext uri="{BB962C8B-B14F-4D97-AF65-F5344CB8AC3E}">
        <p14:creationId xmlns:p14="http://schemas.microsoft.com/office/powerpoint/2010/main" val="1170062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A1BE22-E320-8E2A-3650-551A437915F0}"/>
              </a:ext>
            </a:extLst>
          </p:cNvPr>
          <p:cNvSpPr>
            <a:spLocks noGrp="1"/>
          </p:cNvSpPr>
          <p:nvPr>
            <p:ph type="title"/>
          </p:nvPr>
        </p:nvSpPr>
        <p:spPr/>
        <p:txBody>
          <a:bodyPr/>
          <a:lstStyle/>
          <a:p>
            <a:r>
              <a:rPr lang="en-US"/>
              <a:t>Proposed Operating Model</a:t>
            </a:r>
          </a:p>
        </p:txBody>
      </p:sp>
      <p:sp>
        <p:nvSpPr>
          <p:cNvPr id="3" name="Rectangle 2">
            <a:extLst>
              <a:ext uri="{FF2B5EF4-FFF2-40B4-BE49-F238E27FC236}">
                <a16:creationId xmlns:a16="http://schemas.microsoft.com/office/drawing/2014/main" id="{82EAD141-AF47-5CFB-CE72-BB21C8D6EAAF}"/>
              </a:ext>
            </a:extLst>
          </p:cNvPr>
          <p:cNvSpPr/>
          <p:nvPr/>
        </p:nvSpPr>
        <p:spPr>
          <a:xfrm>
            <a:off x="1577309" y="5108342"/>
            <a:ext cx="10080000" cy="61498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Ubuntu Medium"/>
                <a:ea typeface="+mn-ea"/>
                <a:cs typeface="+mn-cs"/>
              </a:rPr>
              <a:t>Cross Functional</a:t>
            </a:r>
            <a:br>
              <a:rPr kumimoji="0" lang="en-US" sz="1200" b="0" i="0" u="none" strike="noStrike" kern="1200" cap="none" spc="0" normalizeH="0" baseline="0" noProof="0">
                <a:ln>
                  <a:noFill/>
                </a:ln>
                <a:solidFill>
                  <a:schemeClr val="bg1"/>
                </a:solidFill>
                <a:effectLst/>
                <a:uLnTx/>
                <a:uFillTx/>
                <a:latin typeface="Ubuntu Medium"/>
                <a:ea typeface="+mn-ea"/>
                <a:cs typeface="+mn-cs"/>
              </a:rPr>
            </a:br>
            <a:r>
              <a:rPr kumimoji="0" lang="en-US" sz="1200" b="0" i="0" u="none" strike="noStrike" kern="1200" cap="none" spc="0" normalizeH="0" baseline="0" noProof="0">
                <a:ln>
                  <a:noFill/>
                </a:ln>
                <a:solidFill>
                  <a:schemeClr val="bg1"/>
                </a:solidFill>
                <a:effectLst/>
                <a:uLnTx/>
                <a:uFillTx/>
                <a:latin typeface="Ubuntu Medium"/>
                <a:ea typeface="+mn-ea"/>
                <a:cs typeface="+mn-cs"/>
              </a:rPr>
              <a:t>Specialized Services</a:t>
            </a:r>
          </a:p>
        </p:txBody>
      </p:sp>
      <p:sp>
        <p:nvSpPr>
          <p:cNvPr id="6" name="Rectangle 5">
            <a:extLst>
              <a:ext uri="{FF2B5EF4-FFF2-40B4-BE49-F238E27FC236}">
                <a16:creationId xmlns:a16="http://schemas.microsoft.com/office/drawing/2014/main" id="{5A36F28E-745B-21F6-1E18-80E290A49D8B}"/>
              </a:ext>
            </a:extLst>
          </p:cNvPr>
          <p:cNvSpPr/>
          <p:nvPr/>
        </p:nvSpPr>
        <p:spPr>
          <a:xfrm>
            <a:off x="1518905" y="1062522"/>
            <a:ext cx="10080000" cy="756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cap="all">
                <a:solidFill>
                  <a:srgbClr val="FFFFFF"/>
                </a:solidFill>
                <a:latin typeface="Ubuntu Medium"/>
              </a:rPr>
              <a:t>CONTRACTUAL SERVICES</a:t>
            </a:r>
            <a:endParaRPr kumimoji="0" lang="en-US" sz="1600" b="0" i="0" u="none" strike="noStrike" kern="1200" cap="all" spc="0" normalizeH="0" baseline="0" noProof="0">
              <a:ln>
                <a:noFill/>
              </a:ln>
              <a:solidFill>
                <a:srgbClr val="FFFFFF"/>
              </a:solidFill>
              <a:effectLst/>
              <a:uLnTx/>
              <a:uFillTx/>
              <a:latin typeface="Ubuntu Medium"/>
              <a:ea typeface="+mn-ea"/>
              <a:cs typeface="+mn-cs"/>
            </a:endParaRPr>
          </a:p>
        </p:txBody>
      </p:sp>
      <p:sp>
        <p:nvSpPr>
          <p:cNvPr id="48" name="Rectangle 47">
            <a:extLst>
              <a:ext uri="{FF2B5EF4-FFF2-40B4-BE49-F238E27FC236}">
                <a16:creationId xmlns:a16="http://schemas.microsoft.com/office/drawing/2014/main" id="{EB57A562-E644-EB8A-0683-BB6C07797E1C}"/>
              </a:ext>
            </a:extLst>
          </p:cNvPr>
          <p:cNvSpPr>
            <a:spLocks/>
          </p:cNvSpPr>
          <p:nvPr/>
        </p:nvSpPr>
        <p:spPr>
          <a:xfrm>
            <a:off x="6018735" y="1399846"/>
            <a:ext cx="1080000" cy="288000"/>
          </a:xfrm>
          <a:prstGeom prst="rect">
            <a:avLst/>
          </a:prstGeom>
          <a:solidFill>
            <a:schemeClr val="accent1"/>
          </a:solidFill>
          <a:ln w="9525">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kern="0">
                <a:solidFill>
                  <a:srgbClr val="FFFFFF"/>
                </a:solidFill>
                <a:latin typeface="Calibri" panose="020F0502020204030204" pitchFamily="34" charset="0"/>
                <a:ea typeface="Calibri" panose="020F0502020204030204" pitchFamily="34" charset="0"/>
                <a:cs typeface="Calibri" panose="020F0502020204030204" pitchFamily="34" charset="0"/>
              </a:rPr>
              <a:t>Confirm</a:t>
            </a:r>
          </a:p>
        </p:txBody>
      </p:sp>
      <p:sp>
        <p:nvSpPr>
          <p:cNvPr id="49" name="Rectangle 48">
            <a:extLst>
              <a:ext uri="{FF2B5EF4-FFF2-40B4-BE49-F238E27FC236}">
                <a16:creationId xmlns:a16="http://schemas.microsoft.com/office/drawing/2014/main" id="{685C3B26-2753-D826-C632-5584A7FE310C}"/>
              </a:ext>
            </a:extLst>
          </p:cNvPr>
          <p:cNvSpPr>
            <a:spLocks/>
          </p:cNvSpPr>
          <p:nvPr/>
        </p:nvSpPr>
        <p:spPr>
          <a:xfrm>
            <a:off x="4548320" y="1399846"/>
            <a:ext cx="1080000" cy="288000"/>
          </a:xfrm>
          <a:prstGeom prst="rect">
            <a:avLst/>
          </a:prstGeom>
          <a:solidFill>
            <a:schemeClr val="accent1"/>
          </a:solidFill>
          <a:ln w="9525">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kern="0">
                <a:solidFill>
                  <a:srgbClr val="FFFFFF"/>
                </a:solidFill>
                <a:latin typeface="Calibri" panose="020F0502020204030204" pitchFamily="34" charset="0"/>
                <a:ea typeface="Calibri" panose="020F0502020204030204" pitchFamily="34" charset="0"/>
                <a:cs typeface="Calibri" panose="020F0502020204030204" pitchFamily="34" charset="0"/>
              </a:rPr>
              <a:t>MyFleet</a:t>
            </a:r>
          </a:p>
        </p:txBody>
      </p:sp>
      <p:sp>
        <p:nvSpPr>
          <p:cNvPr id="50" name="Rectangle 49">
            <a:extLst>
              <a:ext uri="{FF2B5EF4-FFF2-40B4-BE49-F238E27FC236}">
                <a16:creationId xmlns:a16="http://schemas.microsoft.com/office/drawing/2014/main" id="{92751029-97AA-1514-834F-8BA5DDBE22CA}"/>
              </a:ext>
            </a:extLst>
          </p:cNvPr>
          <p:cNvSpPr>
            <a:spLocks/>
          </p:cNvSpPr>
          <p:nvPr/>
        </p:nvSpPr>
        <p:spPr>
          <a:xfrm>
            <a:off x="3077905" y="1399846"/>
            <a:ext cx="1080000" cy="288000"/>
          </a:xfrm>
          <a:prstGeom prst="rect">
            <a:avLst/>
          </a:prstGeom>
          <a:solidFill>
            <a:schemeClr val="accent1"/>
          </a:solidFill>
          <a:ln w="9525">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Catalog</a:t>
            </a:r>
          </a:p>
        </p:txBody>
      </p:sp>
      <p:sp>
        <p:nvSpPr>
          <p:cNvPr id="51" name="Rectangle 50">
            <a:extLst>
              <a:ext uri="{FF2B5EF4-FFF2-40B4-BE49-F238E27FC236}">
                <a16:creationId xmlns:a16="http://schemas.microsoft.com/office/drawing/2014/main" id="{4E6B622A-07FA-4D55-D7F9-EE807E43E5F4}"/>
              </a:ext>
            </a:extLst>
          </p:cNvPr>
          <p:cNvSpPr>
            <a:spLocks/>
          </p:cNvSpPr>
          <p:nvPr/>
        </p:nvSpPr>
        <p:spPr>
          <a:xfrm>
            <a:off x="1607490" y="1399846"/>
            <a:ext cx="1080000" cy="288000"/>
          </a:xfrm>
          <a:prstGeom prst="rect">
            <a:avLst/>
          </a:prstGeom>
          <a:solidFill>
            <a:schemeClr val="accent1"/>
          </a:solidFill>
          <a:ln w="9525">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kern="0">
                <a:solidFill>
                  <a:srgbClr val="FFFFFF"/>
                </a:solidFill>
                <a:latin typeface="Calibri" panose="020F0502020204030204" pitchFamily="34" charset="0"/>
                <a:ea typeface="Calibri" panose="020F0502020204030204" pitchFamily="34" charset="0"/>
                <a:cs typeface="Calibri" panose="020F0502020204030204" pitchFamily="34" charset="0"/>
              </a:rPr>
              <a:t>AMP</a:t>
            </a:r>
          </a:p>
        </p:txBody>
      </p:sp>
      <p:sp>
        <p:nvSpPr>
          <p:cNvPr id="9" name="Rectangle 8">
            <a:extLst>
              <a:ext uri="{FF2B5EF4-FFF2-40B4-BE49-F238E27FC236}">
                <a16:creationId xmlns:a16="http://schemas.microsoft.com/office/drawing/2014/main" id="{E0CB2E5E-40EA-D44F-3017-6F7099072B56}"/>
              </a:ext>
            </a:extLst>
          </p:cNvPr>
          <p:cNvSpPr/>
          <p:nvPr/>
        </p:nvSpPr>
        <p:spPr>
          <a:xfrm>
            <a:off x="1560949" y="5770258"/>
            <a:ext cx="10080000" cy="29023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Ubuntu Medium"/>
                <a:ea typeface="+mn-ea"/>
                <a:cs typeface="+mn-cs"/>
              </a:rPr>
              <a:t>Infrastructure and Platform Engineering</a:t>
            </a:r>
          </a:p>
        </p:txBody>
      </p:sp>
      <p:grpSp>
        <p:nvGrpSpPr>
          <p:cNvPr id="36" name="Group 35">
            <a:extLst>
              <a:ext uri="{FF2B5EF4-FFF2-40B4-BE49-F238E27FC236}">
                <a16:creationId xmlns:a16="http://schemas.microsoft.com/office/drawing/2014/main" id="{7E25F68A-C6B1-F448-4E5C-60EAF42C161D}"/>
              </a:ext>
            </a:extLst>
          </p:cNvPr>
          <p:cNvGrpSpPr/>
          <p:nvPr/>
        </p:nvGrpSpPr>
        <p:grpSpPr>
          <a:xfrm>
            <a:off x="2943685" y="5157662"/>
            <a:ext cx="8650062" cy="240444"/>
            <a:chOff x="2534277" y="5476598"/>
            <a:chExt cx="9916023" cy="257387"/>
          </a:xfrm>
        </p:grpSpPr>
        <p:sp>
          <p:nvSpPr>
            <p:cNvPr id="43" name="Rectangle 42">
              <a:extLst>
                <a:ext uri="{FF2B5EF4-FFF2-40B4-BE49-F238E27FC236}">
                  <a16:creationId xmlns:a16="http://schemas.microsoft.com/office/drawing/2014/main" id="{09644C30-C64F-3BC6-867E-66CA16E6AA4D}"/>
                </a:ext>
              </a:extLst>
            </p:cNvPr>
            <p:cNvSpPr/>
            <p:nvPr/>
          </p:nvSpPr>
          <p:spPr>
            <a:xfrm>
              <a:off x="2534277" y="5476598"/>
              <a:ext cx="2428916" cy="257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Medium"/>
                  <a:ea typeface="+mn-ea"/>
                  <a:cs typeface="+mn-cs"/>
                </a:rPr>
                <a:t>Build &amp; Implementation</a:t>
              </a:r>
            </a:p>
          </p:txBody>
        </p:sp>
        <p:sp>
          <p:nvSpPr>
            <p:cNvPr id="44" name="Rectangle 43">
              <a:extLst>
                <a:ext uri="{FF2B5EF4-FFF2-40B4-BE49-F238E27FC236}">
                  <a16:creationId xmlns:a16="http://schemas.microsoft.com/office/drawing/2014/main" id="{6513FAC7-59B0-4D5B-CB1C-B10756B85F57}"/>
                </a:ext>
              </a:extLst>
            </p:cNvPr>
            <p:cNvSpPr/>
            <p:nvPr/>
          </p:nvSpPr>
          <p:spPr>
            <a:xfrm>
              <a:off x="5019023" y="5476598"/>
              <a:ext cx="1815947" cy="257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Medium"/>
                  <a:ea typeface="+mn-ea"/>
                  <a:cs typeface="+mn-cs"/>
                </a:rPr>
                <a:t>Quality Engineering</a:t>
              </a:r>
            </a:p>
          </p:txBody>
        </p:sp>
        <p:sp>
          <p:nvSpPr>
            <p:cNvPr id="45" name="Rectangle 44">
              <a:extLst>
                <a:ext uri="{FF2B5EF4-FFF2-40B4-BE49-F238E27FC236}">
                  <a16:creationId xmlns:a16="http://schemas.microsoft.com/office/drawing/2014/main" id="{85E61551-82C8-E849-7D85-96905F56096B}"/>
                </a:ext>
              </a:extLst>
            </p:cNvPr>
            <p:cNvSpPr/>
            <p:nvPr/>
          </p:nvSpPr>
          <p:spPr>
            <a:xfrm>
              <a:off x="6890800" y="5476598"/>
              <a:ext cx="1815947" cy="257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Medium"/>
                  <a:ea typeface="+mn-ea"/>
                  <a:cs typeface="+mn-cs"/>
                </a:rPr>
                <a:t>Testing CoE</a:t>
              </a:r>
            </a:p>
          </p:txBody>
        </p:sp>
        <p:sp>
          <p:nvSpPr>
            <p:cNvPr id="46" name="Rectangle 45">
              <a:extLst>
                <a:ext uri="{FF2B5EF4-FFF2-40B4-BE49-F238E27FC236}">
                  <a16:creationId xmlns:a16="http://schemas.microsoft.com/office/drawing/2014/main" id="{980A7B99-6201-8BBC-7D5E-850EA7202FA4}"/>
                </a:ext>
              </a:extLst>
            </p:cNvPr>
            <p:cNvSpPr/>
            <p:nvPr/>
          </p:nvSpPr>
          <p:spPr>
            <a:xfrm>
              <a:off x="8762577" y="5476598"/>
              <a:ext cx="1815947" cy="25738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Medium"/>
                  <a:ea typeface="+mn-ea"/>
                  <a:cs typeface="+mn-cs"/>
                </a:rPr>
                <a:t>Security</a:t>
              </a:r>
            </a:p>
          </p:txBody>
        </p:sp>
        <p:sp>
          <p:nvSpPr>
            <p:cNvPr id="47" name="Rectangle 46">
              <a:extLst>
                <a:ext uri="{FF2B5EF4-FFF2-40B4-BE49-F238E27FC236}">
                  <a16:creationId xmlns:a16="http://schemas.microsoft.com/office/drawing/2014/main" id="{76E8817D-C504-2408-6756-D7609CC69889}"/>
                </a:ext>
              </a:extLst>
            </p:cNvPr>
            <p:cNvSpPr/>
            <p:nvPr/>
          </p:nvSpPr>
          <p:spPr>
            <a:xfrm>
              <a:off x="10634353" y="5476598"/>
              <a:ext cx="1815947" cy="25738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Medium"/>
                  <a:ea typeface="+mn-ea"/>
                  <a:cs typeface="+mn-cs"/>
                </a:rPr>
                <a:t>Integration</a:t>
              </a:r>
            </a:p>
          </p:txBody>
        </p:sp>
      </p:grpSp>
      <p:sp>
        <p:nvSpPr>
          <p:cNvPr id="38" name="Rectangle 37">
            <a:extLst>
              <a:ext uri="{FF2B5EF4-FFF2-40B4-BE49-F238E27FC236}">
                <a16:creationId xmlns:a16="http://schemas.microsoft.com/office/drawing/2014/main" id="{C740385A-6598-1B64-2E99-ADA73AB125FC}"/>
              </a:ext>
            </a:extLst>
          </p:cNvPr>
          <p:cNvSpPr/>
          <p:nvPr/>
        </p:nvSpPr>
        <p:spPr>
          <a:xfrm>
            <a:off x="2943685" y="5442625"/>
            <a:ext cx="2118821" cy="240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Medium"/>
                <a:ea typeface="+mn-ea"/>
                <a:cs typeface="+mn-cs"/>
              </a:rPr>
              <a:t>DevOps</a:t>
            </a:r>
          </a:p>
        </p:txBody>
      </p:sp>
      <p:sp>
        <p:nvSpPr>
          <p:cNvPr id="39" name="Rectangle 38">
            <a:extLst>
              <a:ext uri="{FF2B5EF4-FFF2-40B4-BE49-F238E27FC236}">
                <a16:creationId xmlns:a16="http://schemas.microsoft.com/office/drawing/2014/main" id="{17B5F536-7FA2-8098-0C58-9A543F6CC27F}"/>
              </a:ext>
            </a:extLst>
          </p:cNvPr>
          <p:cNvSpPr/>
          <p:nvPr/>
        </p:nvSpPr>
        <p:spPr>
          <a:xfrm>
            <a:off x="5111208" y="5442625"/>
            <a:ext cx="1584108" cy="240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Medium"/>
                <a:ea typeface="+mn-ea"/>
                <a:cs typeface="+mn-cs"/>
              </a:rPr>
              <a:t>Process Automation</a:t>
            </a:r>
          </a:p>
        </p:txBody>
      </p:sp>
      <p:sp>
        <p:nvSpPr>
          <p:cNvPr id="40" name="Rectangle 39">
            <a:extLst>
              <a:ext uri="{FF2B5EF4-FFF2-40B4-BE49-F238E27FC236}">
                <a16:creationId xmlns:a16="http://schemas.microsoft.com/office/drawing/2014/main" id="{4F1B4375-20D1-AD04-8A5A-D8CE83D9CD39}"/>
              </a:ext>
            </a:extLst>
          </p:cNvPr>
          <p:cNvSpPr/>
          <p:nvPr/>
        </p:nvSpPr>
        <p:spPr>
          <a:xfrm>
            <a:off x="6744018" y="5442625"/>
            <a:ext cx="1584108" cy="2404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Medium"/>
                <a:ea typeface="+mn-ea"/>
                <a:cs typeface="+mn-cs"/>
              </a:rPr>
              <a:t>GE Vernova  Academy</a:t>
            </a:r>
          </a:p>
        </p:txBody>
      </p:sp>
      <p:sp>
        <p:nvSpPr>
          <p:cNvPr id="41" name="Rectangle 40">
            <a:extLst>
              <a:ext uri="{FF2B5EF4-FFF2-40B4-BE49-F238E27FC236}">
                <a16:creationId xmlns:a16="http://schemas.microsoft.com/office/drawing/2014/main" id="{4DC44DD7-F914-27C3-6D35-F8C6B0928CB5}"/>
              </a:ext>
            </a:extLst>
          </p:cNvPr>
          <p:cNvSpPr/>
          <p:nvPr/>
        </p:nvSpPr>
        <p:spPr>
          <a:xfrm>
            <a:off x="8376829" y="5442625"/>
            <a:ext cx="1584108" cy="240444"/>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Medium"/>
                <a:ea typeface="+mn-ea"/>
                <a:cs typeface="+mn-cs"/>
              </a:rPr>
              <a:t>Architecture</a:t>
            </a:r>
          </a:p>
        </p:txBody>
      </p:sp>
      <p:sp>
        <p:nvSpPr>
          <p:cNvPr id="42" name="Rectangle 41">
            <a:extLst>
              <a:ext uri="{FF2B5EF4-FFF2-40B4-BE49-F238E27FC236}">
                <a16:creationId xmlns:a16="http://schemas.microsoft.com/office/drawing/2014/main" id="{4CDFC8D5-70E6-E8E0-C61D-335878017690}"/>
              </a:ext>
            </a:extLst>
          </p:cNvPr>
          <p:cNvSpPr/>
          <p:nvPr/>
        </p:nvSpPr>
        <p:spPr>
          <a:xfrm>
            <a:off x="10009639" y="5442625"/>
            <a:ext cx="1584108" cy="240444"/>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Medium"/>
                <a:ea typeface="+mn-ea"/>
                <a:cs typeface="+mn-cs"/>
              </a:rPr>
              <a:t>Regulatory Compliances</a:t>
            </a:r>
          </a:p>
        </p:txBody>
      </p:sp>
      <p:sp>
        <p:nvSpPr>
          <p:cNvPr id="33" name="Rectangle 730">
            <a:extLst>
              <a:ext uri="{FF2B5EF4-FFF2-40B4-BE49-F238E27FC236}">
                <a16:creationId xmlns:a16="http://schemas.microsoft.com/office/drawing/2014/main" id="{F351C779-E628-CF51-14F7-4D4313AE5043}"/>
              </a:ext>
            </a:extLst>
          </p:cNvPr>
          <p:cNvSpPr/>
          <p:nvPr/>
        </p:nvSpPr>
        <p:spPr>
          <a:xfrm>
            <a:off x="8796452" y="6144838"/>
            <a:ext cx="1356984" cy="2562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Medium"/>
                <a:ea typeface="Verdana" panose="020B0604030504040204" pitchFamily="34" charset="0"/>
                <a:cs typeface="+mn-cs"/>
              </a:rPr>
              <a:t>Capgemini</a:t>
            </a:r>
          </a:p>
        </p:txBody>
      </p:sp>
      <p:sp>
        <p:nvSpPr>
          <p:cNvPr id="34" name="Rectangle 731">
            <a:extLst>
              <a:ext uri="{FF2B5EF4-FFF2-40B4-BE49-F238E27FC236}">
                <a16:creationId xmlns:a16="http://schemas.microsoft.com/office/drawing/2014/main" id="{EEBFA661-D913-BA4D-F6E5-936F1906FA7F}"/>
              </a:ext>
            </a:extLst>
          </p:cNvPr>
          <p:cNvSpPr/>
          <p:nvPr/>
        </p:nvSpPr>
        <p:spPr>
          <a:xfrm>
            <a:off x="10301717" y="6144838"/>
            <a:ext cx="1356984" cy="25626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Medium"/>
                <a:ea typeface="Verdana" panose="020B0604030504040204" pitchFamily="34" charset="0"/>
                <a:cs typeface="+mn-cs"/>
              </a:rPr>
              <a:t>GE Vernova</a:t>
            </a:r>
          </a:p>
        </p:txBody>
      </p:sp>
      <p:sp>
        <p:nvSpPr>
          <p:cNvPr id="35" name="Rectangle 373">
            <a:extLst>
              <a:ext uri="{FF2B5EF4-FFF2-40B4-BE49-F238E27FC236}">
                <a16:creationId xmlns:a16="http://schemas.microsoft.com/office/drawing/2014/main" id="{576296AD-22EE-8CF3-D845-438FC69B44D8}"/>
              </a:ext>
            </a:extLst>
          </p:cNvPr>
          <p:cNvSpPr/>
          <p:nvPr/>
        </p:nvSpPr>
        <p:spPr>
          <a:xfrm>
            <a:off x="7291187" y="6144838"/>
            <a:ext cx="1356984" cy="256262"/>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Ubuntu"/>
                <a:ea typeface="+mn-ea"/>
                <a:cs typeface="+mn-cs"/>
              </a:rPr>
              <a:t>Shared</a:t>
            </a:r>
          </a:p>
        </p:txBody>
      </p:sp>
      <p:sp>
        <p:nvSpPr>
          <p:cNvPr id="28" name="Rectangle 27">
            <a:extLst>
              <a:ext uri="{FF2B5EF4-FFF2-40B4-BE49-F238E27FC236}">
                <a16:creationId xmlns:a16="http://schemas.microsoft.com/office/drawing/2014/main" id="{8D7CA76D-6790-ACBB-BCC1-9411F78CF40E}"/>
              </a:ext>
            </a:extLst>
          </p:cNvPr>
          <p:cNvSpPr/>
          <p:nvPr/>
        </p:nvSpPr>
        <p:spPr>
          <a:xfrm>
            <a:off x="7187195" y="6094072"/>
            <a:ext cx="4575498" cy="35779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31" name="Rectangle 30">
            <a:extLst>
              <a:ext uri="{FF2B5EF4-FFF2-40B4-BE49-F238E27FC236}">
                <a16:creationId xmlns:a16="http://schemas.microsoft.com/office/drawing/2014/main" id="{CF94C2EB-9B77-7FB9-BD46-429129EBC352}"/>
              </a:ext>
            </a:extLst>
          </p:cNvPr>
          <p:cNvSpPr>
            <a:spLocks/>
          </p:cNvSpPr>
          <p:nvPr/>
        </p:nvSpPr>
        <p:spPr>
          <a:xfrm>
            <a:off x="7489150" y="1399846"/>
            <a:ext cx="1080000" cy="288000"/>
          </a:xfrm>
          <a:prstGeom prst="rect">
            <a:avLst/>
          </a:prstGeom>
          <a:solidFill>
            <a:schemeClr val="accent1"/>
          </a:solidFill>
          <a:ln w="9525">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kern="0">
                <a:solidFill>
                  <a:srgbClr val="FFFFFF"/>
                </a:solidFill>
                <a:latin typeface="Calibri" panose="020F0502020204030204" pitchFamily="34" charset="0"/>
                <a:ea typeface="Calibri" panose="020F0502020204030204" pitchFamily="34" charset="0"/>
                <a:cs typeface="Calibri" panose="020F0502020204030204" pitchFamily="34" charset="0"/>
              </a:rPr>
              <a:t>Escalation</a:t>
            </a:r>
          </a:p>
        </p:txBody>
      </p:sp>
      <p:sp>
        <p:nvSpPr>
          <p:cNvPr id="53" name="Rectangle 52">
            <a:extLst>
              <a:ext uri="{FF2B5EF4-FFF2-40B4-BE49-F238E27FC236}">
                <a16:creationId xmlns:a16="http://schemas.microsoft.com/office/drawing/2014/main" id="{2A06A533-ACF5-5696-ED9D-1A062B80A7B3}"/>
              </a:ext>
            </a:extLst>
          </p:cNvPr>
          <p:cNvSpPr>
            <a:spLocks/>
          </p:cNvSpPr>
          <p:nvPr/>
        </p:nvSpPr>
        <p:spPr>
          <a:xfrm>
            <a:off x="10429979" y="1399846"/>
            <a:ext cx="1080000" cy="288000"/>
          </a:xfrm>
          <a:prstGeom prst="rect">
            <a:avLst/>
          </a:prstGeom>
          <a:solidFill>
            <a:schemeClr val="accent1"/>
          </a:solidFill>
          <a:ln w="9525">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kern="0">
                <a:solidFill>
                  <a:srgbClr val="FFFFFF"/>
                </a:solidFill>
                <a:latin typeface="Calibri" panose="020F0502020204030204" pitchFamily="34" charset="0"/>
                <a:ea typeface="Calibri" panose="020F0502020204030204" pitchFamily="34" charset="0"/>
                <a:cs typeface="Calibri" panose="020F0502020204030204" pitchFamily="34" charset="0"/>
              </a:rPr>
              <a:t>Prism +</a:t>
            </a:r>
          </a:p>
        </p:txBody>
      </p:sp>
      <p:sp>
        <p:nvSpPr>
          <p:cNvPr id="58" name="Rectangle 57">
            <a:extLst>
              <a:ext uri="{FF2B5EF4-FFF2-40B4-BE49-F238E27FC236}">
                <a16:creationId xmlns:a16="http://schemas.microsoft.com/office/drawing/2014/main" id="{AC9F33EA-BC51-F7DF-3B4A-5B30E99F02C2}"/>
              </a:ext>
            </a:extLst>
          </p:cNvPr>
          <p:cNvSpPr>
            <a:spLocks/>
          </p:cNvSpPr>
          <p:nvPr/>
        </p:nvSpPr>
        <p:spPr>
          <a:xfrm>
            <a:off x="8959565" y="1399846"/>
            <a:ext cx="1080000" cy="288000"/>
          </a:xfrm>
          <a:prstGeom prst="rect">
            <a:avLst/>
          </a:prstGeom>
          <a:solidFill>
            <a:schemeClr val="accent1"/>
          </a:solidFill>
          <a:ln w="9525">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kern="0">
                <a:solidFill>
                  <a:srgbClr val="FFFFFF"/>
                </a:solidFill>
                <a:latin typeface="Calibri" panose="020F0502020204030204" pitchFamily="34" charset="0"/>
                <a:ea typeface="Calibri" panose="020F0502020204030204" pitchFamily="34" charset="0"/>
                <a:cs typeface="Calibri" panose="020F0502020204030204" pitchFamily="34" charset="0"/>
              </a:rPr>
              <a:t>BLD</a:t>
            </a:r>
          </a:p>
        </p:txBody>
      </p:sp>
      <p:sp>
        <p:nvSpPr>
          <p:cNvPr id="59" name="Rectangle 58">
            <a:extLst>
              <a:ext uri="{FF2B5EF4-FFF2-40B4-BE49-F238E27FC236}">
                <a16:creationId xmlns:a16="http://schemas.microsoft.com/office/drawing/2014/main" id="{5E7485FE-1E89-C90D-1C8D-7DBC77BA7765}"/>
              </a:ext>
            </a:extLst>
          </p:cNvPr>
          <p:cNvSpPr/>
          <p:nvPr/>
        </p:nvSpPr>
        <p:spPr>
          <a:xfrm>
            <a:off x="1560942" y="4452163"/>
            <a:ext cx="10080000" cy="61498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Ubuntu Medium"/>
                <a:ea typeface="+mn-ea"/>
                <a:cs typeface="+mn-cs"/>
              </a:rPr>
              <a:t>Accelerators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Ubuntu Medium"/>
                <a:ea typeface="+mn-ea"/>
                <a:cs typeface="+mn-cs"/>
              </a:rPr>
              <a:t>Frameworks</a:t>
            </a:r>
          </a:p>
        </p:txBody>
      </p:sp>
      <p:grpSp>
        <p:nvGrpSpPr>
          <p:cNvPr id="61" name="Group 60">
            <a:extLst>
              <a:ext uri="{FF2B5EF4-FFF2-40B4-BE49-F238E27FC236}">
                <a16:creationId xmlns:a16="http://schemas.microsoft.com/office/drawing/2014/main" id="{6D8EB8C1-8D90-ADC6-0ABA-92D8044D862B}"/>
              </a:ext>
            </a:extLst>
          </p:cNvPr>
          <p:cNvGrpSpPr/>
          <p:nvPr/>
        </p:nvGrpSpPr>
        <p:grpSpPr>
          <a:xfrm>
            <a:off x="2937832" y="4491006"/>
            <a:ext cx="8650062" cy="240446"/>
            <a:chOff x="2534277" y="5476598"/>
            <a:chExt cx="9916023" cy="257387"/>
          </a:xfrm>
          <a:solidFill>
            <a:schemeClr val="accent1"/>
          </a:solidFill>
        </p:grpSpPr>
        <p:sp>
          <p:nvSpPr>
            <p:cNvPr id="68" name="Rectangle 67">
              <a:extLst>
                <a:ext uri="{FF2B5EF4-FFF2-40B4-BE49-F238E27FC236}">
                  <a16:creationId xmlns:a16="http://schemas.microsoft.com/office/drawing/2014/main" id="{F78CF6CF-D272-FAD8-D90E-DB85BE4FCD80}"/>
                </a:ext>
              </a:extLst>
            </p:cNvPr>
            <p:cNvSpPr/>
            <p:nvPr/>
          </p:nvSpPr>
          <p:spPr>
            <a:xfrm>
              <a:off x="2534277" y="5476598"/>
              <a:ext cx="2428916" cy="2573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Ubuntu Medium"/>
                  <a:ea typeface="+mn-ea"/>
                  <a:cs typeface="+mn-cs"/>
                </a:rPr>
                <a:t>Gen-X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Medium"/>
                  <a:ea typeface="+mn-ea"/>
                  <a:cs typeface="+mn-cs"/>
                </a:rPr>
                <a:t>50% increase in deployment speed</a:t>
              </a:r>
              <a:endParaRPr kumimoji="0" lang="en-US" sz="900" b="0" i="0" u="none" strike="noStrike" kern="1200" cap="none" spc="0" normalizeH="0" baseline="0" noProof="0">
                <a:ln>
                  <a:noFill/>
                </a:ln>
                <a:solidFill>
                  <a:srgbClr val="FFFFFF"/>
                </a:solidFill>
                <a:effectLst/>
                <a:uLnTx/>
                <a:uFillTx/>
                <a:latin typeface="Ubuntu Medium"/>
                <a:ea typeface="+mn-ea"/>
                <a:cs typeface="+mn-cs"/>
              </a:endParaRPr>
            </a:p>
          </p:txBody>
        </p:sp>
        <p:sp>
          <p:nvSpPr>
            <p:cNvPr id="69" name="Rectangle 68">
              <a:extLst>
                <a:ext uri="{FF2B5EF4-FFF2-40B4-BE49-F238E27FC236}">
                  <a16:creationId xmlns:a16="http://schemas.microsoft.com/office/drawing/2014/main" id="{AA72DAAA-6538-9E23-0AD3-6CCB03CA92E6}"/>
                </a:ext>
              </a:extLst>
            </p:cNvPr>
            <p:cNvSpPr/>
            <p:nvPr/>
          </p:nvSpPr>
          <p:spPr>
            <a:xfrm>
              <a:off x="5019023" y="5476598"/>
              <a:ext cx="1815947" cy="2573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Medium"/>
                  <a:ea typeface="+mn-ea"/>
                  <a:cs typeface="+mn-cs"/>
                </a:rPr>
                <a:t>Digital Cloud Platform</a:t>
              </a:r>
            </a:p>
          </p:txBody>
        </p:sp>
        <p:sp>
          <p:nvSpPr>
            <p:cNvPr id="70" name="Rectangle 69">
              <a:extLst>
                <a:ext uri="{FF2B5EF4-FFF2-40B4-BE49-F238E27FC236}">
                  <a16:creationId xmlns:a16="http://schemas.microsoft.com/office/drawing/2014/main" id="{53F8A455-B690-23A6-99D3-FED494041AD1}"/>
                </a:ext>
              </a:extLst>
            </p:cNvPr>
            <p:cNvSpPr/>
            <p:nvPr/>
          </p:nvSpPr>
          <p:spPr>
            <a:xfrm>
              <a:off x="6890800" y="5476598"/>
              <a:ext cx="1815947" cy="2573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Medium"/>
                  <a:ea typeface="+mn-ea"/>
                  <a:cs typeface="+mn-cs"/>
                </a:rPr>
                <a:t>Gen-AI</a:t>
              </a:r>
            </a:p>
          </p:txBody>
        </p:sp>
        <p:sp>
          <p:nvSpPr>
            <p:cNvPr id="71" name="Rectangle 70">
              <a:extLst>
                <a:ext uri="{FF2B5EF4-FFF2-40B4-BE49-F238E27FC236}">
                  <a16:creationId xmlns:a16="http://schemas.microsoft.com/office/drawing/2014/main" id="{C82A4166-D048-5B18-560C-F5D32A539ED6}"/>
                </a:ext>
              </a:extLst>
            </p:cNvPr>
            <p:cNvSpPr/>
            <p:nvPr/>
          </p:nvSpPr>
          <p:spPr>
            <a:xfrm>
              <a:off x="8762577" y="5476598"/>
              <a:ext cx="1815947" cy="2573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rgbClr val="FFFFFF"/>
                  </a:solidFill>
                  <a:latin typeface="Ubuntu Medium"/>
                </a:rPr>
                <a:t>Cloud Acceleration</a:t>
              </a:r>
            </a:p>
          </p:txBody>
        </p:sp>
        <p:sp>
          <p:nvSpPr>
            <p:cNvPr id="72" name="Rectangle 71">
              <a:extLst>
                <a:ext uri="{FF2B5EF4-FFF2-40B4-BE49-F238E27FC236}">
                  <a16:creationId xmlns:a16="http://schemas.microsoft.com/office/drawing/2014/main" id="{360E4F66-2473-C53D-77C7-D75124B7C4D9}"/>
                </a:ext>
              </a:extLst>
            </p:cNvPr>
            <p:cNvSpPr/>
            <p:nvPr/>
          </p:nvSpPr>
          <p:spPr>
            <a:xfrm>
              <a:off x="10634353" y="5476598"/>
              <a:ext cx="1815947" cy="2573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rgbClr val="FFFFFF"/>
                  </a:solidFill>
                  <a:latin typeface="Ubuntu Medium"/>
                </a:rPr>
                <a:t>CIF - Integration</a:t>
              </a:r>
            </a:p>
          </p:txBody>
        </p:sp>
      </p:grpSp>
      <p:grpSp>
        <p:nvGrpSpPr>
          <p:cNvPr id="62" name="Group 61">
            <a:extLst>
              <a:ext uri="{FF2B5EF4-FFF2-40B4-BE49-F238E27FC236}">
                <a16:creationId xmlns:a16="http://schemas.microsoft.com/office/drawing/2014/main" id="{D3052A2D-993B-7330-688A-403E45F82DE5}"/>
              </a:ext>
            </a:extLst>
          </p:cNvPr>
          <p:cNvGrpSpPr/>
          <p:nvPr/>
        </p:nvGrpSpPr>
        <p:grpSpPr>
          <a:xfrm>
            <a:off x="2937832" y="4733931"/>
            <a:ext cx="8650062" cy="324005"/>
            <a:chOff x="2534277" y="5431596"/>
            <a:chExt cx="9916023" cy="346834"/>
          </a:xfrm>
          <a:solidFill>
            <a:schemeClr val="accent1"/>
          </a:solidFill>
        </p:grpSpPr>
        <p:sp>
          <p:nvSpPr>
            <p:cNvPr id="63" name="Rectangle 62">
              <a:extLst>
                <a:ext uri="{FF2B5EF4-FFF2-40B4-BE49-F238E27FC236}">
                  <a16:creationId xmlns:a16="http://schemas.microsoft.com/office/drawing/2014/main" id="{A6BF349F-47B5-517E-A94E-41A3996957C9}"/>
                </a:ext>
              </a:extLst>
            </p:cNvPr>
            <p:cNvSpPr/>
            <p:nvPr/>
          </p:nvSpPr>
          <p:spPr>
            <a:xfrm>
              <a:off x="2534277" y="5431596"/>
              <a:ext cx="2428916" cy="3468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Calibri" panose="020F0502020204030204" pitchFamily="34" charset="0"/>
                  <a:ea typeface="Calibri" panose="020F0502020204030204" pitchFamily="34" charset="0"/>
                  <a:cs typeface="Calibri" panose="020F0502020204030204" pitchFamily="34" charset="0"/>
                </a:rPr>
                <a:t>DevOps, CI/CD, SAST, DAST</a:t>
              </a:r>
              <a:endParaRPr kumimoji="0" lang="en-US" sz="9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64" name="Rectangle 63">
              <a:extLst>
                <a:ext uri="{FF2B5EF4-FFF2-40B4-BE49-F238E27FC236}">
                  <a16:creationId xmlns:a16="http://schemas.microsoft.com/office/drawing/2014/main" id="{B30C387D-E511-B656-1504-21FA960B5335}"/>
                </a:ext>
              </a:extLst>
            </p:cNvPr>
            <p:cNvSpPr/>
            <p:nvPr/>
          </p:nvSpPr>
          <p:spPr>
            <a:xfrm>
              <a:off x="5019023" y="5431599"/>
              <a:ext cx="1815947" cy="3468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Cloud Native Microservices, security</a:t>
              </a:r>
            </a:p>
          </p:txBody>
        </p:sp>
        <p:sp>
          <p:nvSpPr>
            <p:cNvPr id="65" name="Rectangle 64">
              <a:extLst>
                <a:ext uri="{FF2B5EF4-FFF2-40B4-BE49-F238E27FC236}">
                  <a16:creationId xmlns:a16="http://schemas.microsoft.com/office/drawing/2014/main" id="{DD49C0B4-906D-C613-92ED-0ADD697CFA8E}"/>
                </a:ext>
              </a:extLst>
            </p:cNvPr>
            <p:cNvSpPr/>
            <p:nvPr/>
          </p:nvSpPr>
          <p:spPr>
            <a:xfrm>
              <a:off x="6890799" y="5431599"/>
              <a:ext cx="1815947" cy="3468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Development, Coding, Documentation</a:t>
              </a:r>
            </a:p>
          </p:txBody>
        </p:sp>
        <p:sp>
          <p:nvSpPr>
            <p:cNvPr id="66" name="Rectangle 65">
              <a:extLst>
                <a:ext uri="{FF2B5EF4-FFF2-40B4-BE49-F238E27FC236}">
                  <a16:creationId xmlns:a16="http://schemas.microsoft.com/office/drawing/2014/main" id="{990B46C2-781C-2A89-6982-3CB4FAC8AA03}"/>
                </a:ext>
              </a:extLst>
            </p:cNvPr>
            <p:cNvSpPr/>
            <p:nvPr/>
          </p:nvSpPr>
          <p:spPr>
            <a:xfrm>
              <a:off x="8762577" y="5431599"/>
              <a:ext cx="1815947" cy="3468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rgbClr val="FFFFFF"/>
                  </a:solidFill>
                  <a:latin typeface="Calibri" panose="020F0502020204030204" pitchFamily="34" charset="0"/>
                  <a:ea typeface="Calibri" panose="020F0502020204030204" pitchFamily="34" charset="0"/>
                  <a:cs typeface="Calibri" panose="020F0502020204030204" pitchFamily="34" charset="0"/>
                </a:rPr>
                <a:t>Cloud Formation, Automation, Cost Optimization</a:t>
              </a:r>
            </a:p>
          </p:txBody>
        </p:sp>
        <p:sp>
          <p:nvSpPr>
            <p:cNvPr id="67" name="Rectangle 66">
              <a:extLst>
                <a:ext uri="{FF2B5EF4-FFF2-40B4-BE49-F238E27FC236}">
                  <a16:creationId xmlns:a16="http://schemas.microsoft.com/office/drawing/2014/main" id="{5CC59FD8-B01D-D5F5-4FF9-744DC9053853}"/>
                </a:ext>
              </a:extLst>
            </p:cNvPr>
            <p:cNvSpPr/>
            <p:nvPr/>
          </p:nvSpPr>
          <p:spPr>
            <a:xfrm>
              <a:off x="10634353" y="5431599"/>
              <a:ext cx="1815947" cy="3468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rgbClr val="FFFFFF"/>
                  </a:solidFill>
                  <a:latin typeface="Calibri" panose="020F0502020204030204" pitchFamily="34" charset="0"/>
                  <a:ea typeface="Calibri" panose="020F0502020204030204" pitchFamily="34" charset="0"/>
                  <a:cs typeface="Calibri" panose="020F0502020204030204" pitchFamily="34" charset="0"/>
                </a:rPr>
                <a:t>Regulatory Compliances</a:t>
              </a:r>
            </a:p>
          </p:txBody>
        </p:sp>
      </p:grpSp>
      <p:sp>
        <p:nvSpPr>
          <p:cNvPr id="76" name="Rectangle: Rounded Corners 75">
            <a:extLst>
              <a:ext uri="{FF2B5EF4-FFF2-40B4-BE49-F238E27FC236}">
                <a16:creationId xmlns:a16="http://schemas.microsoft.com/office/drawing/2014/main" id="{7BAE444A-506D-2E2A-14B5-8AAA51B76F13}"/>
              </a:ext>
            </a:extLst>
          </p:cNvPr>
          <p:cNvSpPr/>
          <p:nvPr/>
        </p:nvSpPr>
        <p:spPr>
          <a:xfrm>
            <a:off x="4454520" y="1863041"/>
            <a:ext cx="1260000" cy="156354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err="1"/>
          </a:p>
        </p:txBody>
      </p:sp>
      <p:grpSp>
        <p:nvGrpSpPr>
          <p:cNvPr id="215" name="Group 214">
            <a:extLst>
              <a:ext uri="{FF2B5EF4-FFF2-40B4-BE49-F238E27FC236}">
                <a16:creationId xmlns:a16="http://schemas.microsoft.com/office/drawing/2014/main" id="{416843B4-D82E-2A10-9AE4-EC26580805FC}"/>
              </a:ext>
            </a:extLst>
          </p:cNvPr>
          <p:cNvGrpSpPr/>
          <p:nvPr/>
        </p:nvGrpSpPr>
        <p:grpSpPr>
          <a:xfrm>
            <a:off x="1565446" y="1863041"/>
            <a:ext cx="1260000" cy="1563543"/>
            <a:chOff x="1565446" y="1863041"/>
            <a:chExt cx="1260000" cy="1563543"/>
          </a:xfrm>
        </p:grpSpPr>
        <p:sp>
          <p:nvSpPr>
            <p:cNvPr id="74" name="Rectangle: Rounded Corners 73">
              <a:extLst>
                <a:ext uri="{FF2B5EF4-FFF2-40B4-BE49-F238E27FC236}">
                  <a16:creationId xmlns:a16="http://schemas.microsoft.com/office/drawing/2014/main" id="{61E02357-7CD4-AD11-843D-6242A996DB9D}"/>
                </a:ext>
              </a:extLst>
            </p:cNvPr>
            <p:cNvSpPr/>
            <p:nvPr/>
          </p:nvSpPr>
          <p:spPr>
            <a:xfrm>
              <a:off x="1565446" y="1863041"/>
              <a:ext cx="1260000" cy="156354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err="1"/>
            </a:p>
          </p:txBody>
        </p:sp>
        <p:grpSp>
          <p:nvGrpSpPr>
            <p:cNvPr id="122" name="Group 121">
              <a:extLst>
                <a:ext uri="{FF2B5EF4-FFF2-40B4-BE49-F238E27FC236}">
                  <a16:creationId xmlns:a16="http://schemas.microsoft.com/office/drawing/2014/main" id="{A74CDC0C-D44D-4B73-BB0F-DC6DAB754BCC}"/>
                </a:ext>
              </a:extLst>
            </p:cNvPr>
            <p:cNvGrpSpPr/>
            <p:nvPr/>
          </p:nvGrpSpPr>
          <p:grpSpPr>
            <a:xfrm>
              <a:off x="1667295" y="2057040"/>
              <a:ext cx="1059438" cy="1209115"/>
              <a:chOff x="1667295" y="2057040"/>
              <a:chExt cx="1059438" cy="1209115"/>
            </a:xfrm>
          </p:grpSpPr>
          <p:grpSp>
            <p:nvGrpSpPr>
              <p:cNvPr id="95" name="Group 94">
                <a:extLst>
                  <a:ext uri="{FF2B5EF4-FFF2-40B4-BE49-F238E27FC236}">
                    <a16:creationId xmlns:a16="http://schemas.microsoft.com/office/drawing/2014/main" id="{4DD8F2BE-2275-9CD0-8E7F-BD3CA9D4C4F8}"/>
                  </a:ext>
                </a:extLst>
              </p:cNvPr>
              <p:cNvGrpSpPr/>
              <p:nvPr/>
            </p:nvGrpSpPr>
            <p:grpSpPr>
              <a:xfrm>
                <a:off x="1667295" y="2057040"/>
                <a:ext cx="1047752" cy="345579"/>
                <a:chOff x="1793417" y="2057040"/>
                <a:chExt cx="1047752" cy="345579"/>
              </a:xfrm>
            </p:grpSpPr>
            <p:grpSp>
              <p:nvGrpSpPr>
                <p:cNvPr id="83" name="Group 82">
                  <a:extLst>
                    <a:ext uri="{FF2B5EF4-FFF2-40B4-BE49-F238E27FC236}">
                      <a16:creationId xmlns:a16="http://schemas.microsoft.com/office/drawing/2014/main" id="{937FFC28-0738-218C-7B69-10BC60F3ABDE}"/>
                    </a:ext>
                  </a:extLst>
                </p:cNvPr>
                <p:cNvGrpSpPr/>
                <p:nvPr/>
              </p:nvGrpSpPr>
              <p:grpSpPr>
                <a:xfrm>
                  <a:off x="1793417" y="2057040"/>
                  <a:ext cx="343563" cy="345579"/>
                  <a:chOff x="4983693" y="1073777"/>
                  <a:chExt cx="368029" cy="370189"/>
                </a:xfrm>
              </p:grpSpPr>
              <p:sp>
                <p:nvSpPr>
                  <p:cNvPr id="84" name="Freeform 326">
                    <a:extLst>
                      <a:ext uri="{FF2B5EF4-FFF2-40B4-BE49-F238E27FC236}">
                        <a16:creationId xmlns:a16="http://schemas.microsoft.com/office/drawing/2014/main" id="{61D70480-9396-3BF4-8123-2B0D0BD64286}"/>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85" name="Freeform 329">
                    <a:extLst>
                      <a:ext uri="{FF2B5EF4-FFF2-40B4-BE49-F238E27FC236}">
                        <a16:creationId xmlns:a16="http://schemas.microsoft.com/office/drawing/2014/main" id="{C36AB48D-4DF7-EF96-8743-F0170F5F1D8F}"/>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86" name="Freeform 330">
                    <a:extLst>
                      <a:ext uri="{FF2B5EF4-FFF2-40B4-BE49-F238E27FC236}">
                        <a16:creationId xmlns:a16="http://schemas.microsoft.com/office/drawing/2014/main" id="{CAC32C43-B9E7-FB71-885F-21C62B4B5C32}"/>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87" name="Group 86">
                  <a:extLst>
                    <a:ext uri="{FF2B5EF4-FFF2-40B4-BE49-F238E27FC236}">
                      <a16:creationId xmlns:a16="http://schemas.microsoft.com/office/drawing/2014/main" id="{2066604F-FABA-9DE4-D3FF-512CB48ECDDE}"/>
                    </a:ext>
                  </a:extLst>
                </p:cNvPr>
                <p:cNvGrpSpPr/>
                <p:nvPr/>
              </p:nvGrpSpPr>
              <p:grpSpPr>
                <a:xfrm>
                  <a:off x="2145511" y="2057040"/>
                  <a:ext cx="343563" cy="345579"/>
                  <a:chOff x="4983693" y="1073777"/>
                  <a:chExt cx="368029" cy="370189"/>
                </a:xfrm>
              </p:grpSpPr>
              <p:sp>
                <p:nvSpPr>
                  <p:cNvPr id="88" name="Freeform 326">
                    <a:extLst>
                      <a:ext uri="{FF2B5EF4-FFF2-40B4-BE49-F238E27FC236}">
                        <a16:creationId xmlns:a16="http://schemas.microsoft.com/office/drawing/2014/main" id="{E97263A5-54D3-2D91-4C49-EDE04F0C7F67}"/>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89" name="Freeform 329">
                    <a:extLst>
                      <a:ext uri="{FF2B5EF4-FFF2-40B4-BE49-F238E27FC236}">
                        <a16:creationId xmlns:a16="http://schemas.microsoft.com/office/drawing/2014/main" id="{D1493252-EB8D-E513-007B-DB39EB75A8BF}"/>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90" name="Freeform 330">
                    <a:extLst>
                      <a:ext uri="{FF2B5EF4-FFF2-40B4-BE49-F238E27FC236}">
                        <a16:creationId xmlns:a16="http://schemas.microsoft.com/office/drawing/2014/main" id="{0AA23ECB-7F88-998E-1684-B8CA0CF7FFFE}"/>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91" name="Group 90">
                  <a:extLst>
                    <a:ext uri="{FF2B5EF4-FFF2-40B4-BE49-F238E27FC236}">
                      <a16:creationId xmlns:a16="http://schemas.microsoft.com/office/drawing/2014/main" id="{34B1BAE3-D950-1966-7D3E-8A5E9C553E03}"/>
                    </a:ext>
                  </a:extLst>
                </p:cNvPr>
                <p:cNvGrpSpPr/>
                <p:nvPr/>
              </p:nvGrpSpPr>
              <p:grpSpPr>
                <a:xfrm>
                  <a:off x="2497606" y="2057040"/>
                  <a:ext cx="343563" cy="345579"/>
                  <a:chOff x="4983693" y="1073777"/>
                  <a:chExt cx="368029" cy="370189"/>
                </a:xfrm>
              </p:grpSpPr>
              <p:sp>
                <p:nvSpPr>
                  <p:cNvPr id="92" name="Freeform 326">
                    <a:extLst>
                      <a:ext uri="{FF2B5EF4-FFF2-40B4-BE49-F238E27FC236}">
                        <a16:creationId xmlns:a16="http://schemas.microsoft.com/office/drawing/2014/main" id="{790F80C8-E1D6-79A9-D730-B94B745C896E}"/>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93" name="Freeform 329">
                    <a:extLst>
                      <a:ext uri="{FF2B5EF4-FFF2-40B4-BE49-F238E27FC236}">
                        <a16:creationId xmlns:a16="http://schemas.microsoft.com/office/drawing/2014/main" id="{42F0EAED-E7B0-462C-3D84-A92B02C1B9CC}"/>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94" name="Freeform 330">
                    <a:extLst>
                      <a:ext uri="{FF2B5EF4-FFF2-40B4-BE49-F238E27FC236}">
                        <a16:creationId xmlns:a16="http://schemas.microsoft.com/office/drawing/2014/main" id="{77183E97-D231-6B6A-7684-1D55BB0408A4}"/>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nvGrpSpPr>
              <p:cNvPr id="96" name="Group 95">
                <a:extLst>
                  <a:ext uri="{FF2B5EF4-FFF2-40B4-BE49-F238E27FC236}">
                    <a16:creationId xmlns:a16="http://schemas.microsoft.com/office/drawing/2014/main" id="{56DBBA18-0731-BB42-E687-E2BE85E75B04}"/>
                  </a:ext>
                </a:extLst>
              </p:cNvPr>
              <p:cNvGrpSpPr/>
              <p:nvPr/>
            </p:nvGrpSpPr>
            <p:grpSpPr>
              <a:xfrm>
                <a:off x="1667295" y="2493857"/>
                <a:ext cx="1047752" cy="345579"/>
                <a:chOff x="1793417" y="2057040"/>
                <a:chExt cx="1047752" cy="345579"/>
              </a:xfrm>
            </p:grpSpPr>
            <p:grpSp>
              <p:nvGrpSpPr>
                <p:cNvPr id="97" name="Group 96">
                  <a:extLst>
                    <a:ext uri="{FF2B5EF4-FFF2-40B4-BE49-F238E27FC236}">
                      <a16:creationId xmlns:a16="http://schemas.microsoft.com/office/drawing/2014/main" id="{9E8D0CBC-5B5B-AFDB-F088-5371EE36DABF}"/>
                    </a:ext>
                  </a:extLst>
                </p:cNvPr>
                <p:cNvGrpSpPr/>
                <p:nvPr/>
              </p:nvGrpSpPr>
              <p:grpSpPr>
                <a:xfrm>
                  <a:off x="1793417" y="2057040"/>
                  <a:ext cx="343563" cy="345579"/>
                  <a:chOff x="4983693" y="1073777"/>
                  <a:chExt cx="368029" cy="370189"/>
                </a:xfrm>
              </p:grpSpPr>
              <p:sp>
                <p:nvSpPr>
                  <p:cNvPr id="106" name="Freeform 326">
                    <a:extLst>
                      <a:ext uri="{FF2B5EF4-FFF2-40B4-BE49-F238E27FC236}">
                        <a16:creationId xmlns:a16="http://schemas.microsoft.com/office/drawing/2014/main" id="{FA5A7848-4B8D-6E83-38D3-9C4D9CDEAAD2}"/>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07" name="Freeform 329">
                    <a:extLst>
                      <a:ext uri="{FF2B5EF4-FFF2-40B4-BE49-F238E27FC236}">
                        <a16:creationId xmlns:a16="http://schemas.microsoft.com/office/drawing/2014/main" id="{1F83D53E-04FA-4828-B201-9329F83A85D5}"/>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08" name="Freeform 330">
                    <a:extLst>
                      <a:ext uri="{FF2B5EF4-FFF2-40B4-BE49-F238E27FC236}">
                        <a16:creationId xmlns:a16="http://schemas.microsoft.com/office/drawing/2014/main" id="{72BC8528-6023-DA14-0E92-D94BD4ED9FED}"/>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98" name="Group 97">
                  <a:extLst>
                    <a:ext uri="{FF2B5EF4-FFF2-40B4-BE49-F238E27FC236}">
                      <a16:creationId xmlns:a16="http://schemas.microsoft.com/office/drawing/2014/main" id="{8ABA1832-9E2E-AF43-D4C0-12D2E1C596C3}"/>
                    </a:ext>
                  </a:extLst>
                </p:cNvPr>
                <p:cNvGrpSpPr/>
                <p:nvPr/>
              </p:nvGrpSpPr>
              <p:grpSpPr>
                <a:xfrm>
                  <a:off x="2145511" y="2057040"/>
                  <a:ext cx="343563" cy="345579"/>
                  <a:chOff x="4983693" y="1073777"/>
                  <a:chExt cx="368029" cy="370189"/>
                </a:xfrm>
              </p:grpSpPr>
              <p:sp>
                <p:nvSpPr>
                  <p:cNvPr id="103" name="Freeform 326">
                    <a:extLst>
                      <a:ext uri="{FF2B5EF4-FFF2-40B4-BE49-F238E27FC236}">
                        <a16:creationId xmlns:a16="http://schemas.microsoft.com/office/drawing/2014/main" id="{F94C75B9-A5E4-839A-6F7F-F23096DB62E8}"/>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04" name="Freeform 329">
                    <a:extLst>
                      <a:ext uri="{FF2B5EF4-FFF2-40B4-BE49-F238E27FC236}">
                        <a16:creationId xmlns:a16="http://schemas.microsoft.com/office/drawing/2014/main" id="{253788C5-4D26-BDFE-3A84-E44CA0EBF768}"/>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05" name="Freeform 330">
                    <a:extLst>
                      <a:ext uri="{FF2B5EF4-FFF2-40B4-BE49-F238E27FC236}">
                        <a16:creationId xmlns:a16="http://schemas.microsoft.com/office/drawing/2014/main" id="{FF8424FE-F22F-33AF-1125-3CC89D36C7B6}"/>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99" name="Group 98">
                  <a:extLst>
                    <a:ext uri="{FF2B5EF4-FFF2-40B4-BE49-F238E27FC236}">
                      <a16:creationId xmlns:a16="http://schemas.microsoft.com/office/drawing/2014/main" id="{8A0855AE-8C55-95AF-EE46-51BE7D1723B6}"/>
                    </a:ext>
                  </a:extLst>
                </p:cNvPr>
                <p:cNvGrpSpPr/>
                <p:nvPr/>
              </p:nvGrpSpPr>
              <p:grpSpPr>
                <a:xfrm>
                  <a:off x="2497606" y="2057040"/>
                  <a:ext cx="343563" cy="345579"/>
                  <a:chOff x="4983693" y="1073777"/>
                  <a:chExt cx="368029" cy="370189"/>
                </a:xfrm>
              </p:grpSpPr>
              <p:sp>
                <p:nvSpPr>
                  <p:cNvPr id="100" name="Freeform 326">
                    <a:extLst>
                      <a:ext uri="{FF2B5EF4-FFF2-40B4-BE49-F238E27FC236}">
                        <a16:creationId xmlns:a16="http://schemas.microsoft.com/office/drawing/2014/main" id="{647A9809-3EA1-FE10-69A2-C3B359EE8EAF}"/>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01" name="Freeform 329">
                    <a:extLst>
                      <a:ext uri="{FF2B5EF4-FFF2-40B4-BE49-F238E27FC236}">
                        <a16:creationId xmlns:a16="http://schemas.microsoft.com/office/drawing/2014/main" id="{67671E61-14B9-AA10-5296-426238D30B1E}"/>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02" name="Freeform 330">
                    <a:extLst>
                      <a:ext uri="{FF2B5EF4-FFF2-40B4-BE49-F238E27FC236}">
                        <a16:creationId xmlns:a16="http://schemas.microsoft.com/office/drawing/2014/main" id="{CCD7BFBD-D493-5730-4F93-C5DC336192A1}"/>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nvGrpSpPr>
              <p:cNvPr id="109" name="Group 108">
                <a:extLst>
                  <a:ext uri="{FF2B5EF4-FFF2-40B4-BE49-F238E27FC236}">
                    <a16:creationId xmlns:a16="http://schemas.microsoft.com/office/drawing/2014/main" id="{64A621BD-21AF-0C31-EB4E-0CE1223B57C3}"/>
                  </a:ext>
                </a:extLst>
              </p:cNvPr>
              <p:cNvGrpSpPr/>
              <p:nvPr/>
            </p:nvGrpSpPr>
            <p:grpSpPr>
              <a:xfrm>
                <a:off x="1678981" y="2920576"/>
                <a:ext cx="1047752" cy="345579"/>
                <a:chOff x="1793417" y="2057040"/>
                <a:chExt cx="1047752" cy="345579"/>
              </a:xfrm>
            </p:grpSpPr>
            <p:grpSp>
              <p:nvGrpSpPr>
                <p:cNvPr id="110" name="Group 109">
                  <a:extLst>
                    <a:ext uri="{FF2B5EF4-FFF2-40B4-BE49-F238E27FC236}">
                      <a16:creationId xmlns:a16="http://schemas.microsoft.com/office/drawing/2014/main" id="{C9BAE820-6778-3CE7-63DC-B76FD1BE90C3}"/>
                    </a:ext>
                  </a:extLst>
                </p:cNvPr>
                <p:cNvGrpSpPr/>
                <p:nvPr/>
              </p:nvGrpSpPr>
              <p:grpSpPr>
                <a:xfrm>
                  <a:off x="1793417" y="2057040"/>
                  <a:ext cx="343563" cy="345579"/>
                  <a:chOff x="4983693" y="1073777"/>
                  <a:chExt cx="368029" cy="370189"/>
                </a:xfrm>
              </p:grpSpPr>
              <p:sp>
                <p:nvSpPr>
                  <p:cNvPr id="119" name="Freeform 326">
                    <a:extLst>
                      <a:ext uri="{FF2B5EF4-FFF2-40B4-BE49-F238E27FC236}">
                        <a16:creationId xmlns:a16="http://schemas.microsoft.com/office/drawing/2014/main" id="{93736F7C-4014-4FA9-8F41-076C02A44487}"/>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20" name="Freeform 329">
                    <a:extLst>
                      <a:ext uri="{FF2B5EF4-FFF2-40B4-BE49-F238E27FC236}">
                        <a16:creationId xmlns:a16="http://schemas.microsoft.com/office/drawing/2014/main" id="{C3DD356F-2E8F-011A-E2F6-AE0734B8FF69}"/>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21" name="Freeform 330">
                    <a:extLst>
                      <a:ext uri="{FF2B5EF4-FFF2-40B4-BE49-F238E27FC236}">
                        <a16:creationId xmlns:a16="http://schemas.microsoft.com/office/drawing/2014/main" id="{3D6F7D5E-39A3-BDA1-0416-33939FACD2B6}"/>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11" name="Group 110">
                  <a:extLst>
                    <a:ext uri="{FF2B5EF4-FFF2-40B4-BE49-F238E27FC236}">
                      <a16:creationId xmlns:a16="http://schemas.microsoft.com/office/drawing/2014/main" id="{6E07A805-9F17-994B-0797-CA5B62B44C5A}"/>
                    </a:ext>
                  </a:extLst>
                </p:cNvPr>
                <p:cNvGrpSpPr/>
                <p:nvPr/>
              </p:nvGrpSpPr>
              <p:grpSpPr>
                <a:xfrm>
                  <a:off x="2145511" y="2057040"/>
                  <a:ext cx="343563" cy="345579"/>
                  <a:chOff x="4983693" y="1073777"/>
                  <a:chExt cx="368029" cy="370189"/>
                </a:xfrm>
              </p:grpSpPr>
              <p:sp>
                <p:nvSpPr>
                  <p:cNvPr id="116" name="Freeform 326">
                    <a:extLst>
                      <a:ext uri="{FF2B5EF4-FFF2-40B4-BE49-F238E27FC236}">
                        <a16:creationId xmlns:a16="http://schemas.microsoft.com/office/drawing/2014/main" id="{BE0F9DA4-913F-1CBF-9448-05B49C64BA43}"/>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17" name="Freeform 329">
                    <a:extLst>
                      <a:ext uri="{FF2B5EF4-FFF2-40B4-BE49-F238E27FC236}">
                        <a16:creationId xmlns:a16="http://schemas.microsoft.com/office/drawing/2014/main" id="{888E9879-A35D-B041-FCFA-277A0187C0C5}"/>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18" name="Freeform 330">
                    <a:extLst>
                      <a:ext uri="{FF2B5EF4-FFF2-40B4-BE49-F238E27FC236}">
                        <a16:creationId xmlns:a16="http://schemas.microsoft.com/office/drawing/2014/main" id="{F5B18C7C-067C-7107-4290-6946E664D4A3}"/>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12" name="Group 111">
                  <a:extLst>
                    <a:ext uri="{FF2B5EF4-FFF2-40B4-BE49-F238E27FC236}">
                      <a16:creationId xmlns:a16="http://schemas.microsoft.com/office/drawing/2014/main" id="{6E842CA1-BBA9-BD55-DF42-E77FCD353934}"/>
                    </a:ext>
                  </a:extLst>
                </p:cNvPr>
                <p:cNvGrpSpPr/>
                <p:nvPr/>
              </p:nvGrpSpPr>
              <p:grpSpPr>
                <a:xfrm>
                  <a:off x="2497606" y="2057040"/>
                  <a:ext cx="343563" cy="345579"/>
                  <a:chOff x="4983693" y="1073777"/>
                  <a:chExt cx="368029" cy="370189"/>
                </a:xfrm>
              </p:grpSpPr>
              <p:sp>
                <p:nvSpPr>
                  <p:cNvPr id="113" name="Freeform 326">
                    <a:extLst>
                      <a:ext uri="{FF2B5EF4-FFF2-40B4-BE49-F238E27FC236}">
                        <a16:creationId xmlns:a16="http://schemas.microsoft.com/office/drawing/2014/main" id="{D8C72782-4FD2-4B9B-1AE8-5C90AC936166}"/>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14" name="Freeform 329">
                    <a:extLst>
                      <a:ext uri="{FF2B5EF4-FFF2-40B4-BE49-F238E27FC236}">
                        <a16:creationId xmlns:a16="http://schemas.microsoft.com/office/drawing/2014/main" id="{F7966C29-9E27-9A40-95BC-AB35B94FB65F}"/>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15" name="Freeform 330">
                    <a:extLst>
                      <a:ext uri="{FF2B5EF4-FFF2-40B4-BE49-F238E27FC236}">
                        <a16:creationId xmlns:a16="http://schemas.microsoft.com/office/drawing/2014/main" id="{D493735B-8223-F012-77B3-DDD738602E17}"/>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grpSp>
      <p:grpSp>
        <p:nvGrpSpPr>
          <p:cNvPr id="421" name="Group 420">
            <a:extLst>
              <a:ext uri="{FF2B5EF4-FFF2-40B4-BE49-F238E27FC236}">
                <a16:creationId xmlns:a16="http://schemas.microsoft.com/office/drawing/2014/main" id="{46366063-2CDA-205C-D375-545344B561C3}"/>
              </a:ext>
            </a:extLst>
          </p:cNvPr>
          <p:cNvGrpSpPr/>
          <p:nvPr/>
        </p:nvGrpSpPr>
        <p:grpSpPr>
          <a:xfrm>
            <a:off x="1544429" y="3464969"/>
            <a:ext cx="10080000" cy="432000"/>
            <a:chOff x="1544429" y="3633132"/>
            <a:chExt cx="10080000" cy="432000"/>
          </a:xfrm>
        </p:grpSpPr>
        <p:sp>
          <p:nvSpPr>
            <p:cNvPr id="82" name="Rectangle: Rounded Corners 81">
              <a:extLst>
                <a:ext uri="{FF2B5EF4-FFF2-40B4-BE49-F238E27FC236}">
                  <a16:creationId xmlns:a16="http://schemas.microsoft.com/office/drawing/2014/main" id="{AD4A0208-CDB0-2807-D628-05300FA516DC}"/>
                </a:ext>
              </a:extLst>
            </p:cNvPr>
            <p:cNvSpPr/>
            <p:nvPr/>
          </p:nvSpPr>
          <p:spPr>
            <a:xfrm>
              <a:off x="1544429" y="3633132"/>
              <a:ext cx="10080000" cy="432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err="1"/>
            </a:p>
          </p:txBody>
        </p:sp>
        <p:grpSp>
          <p:nvGrpSpPr>
            <p:cNvPr id="123" name="Group 122">
              <a:extLst>
                <a:ext uri="{FF2B5EF4-FFF2-40B4-BE49-F238E27FC236}">
                  <a16:creationId xmlns:a16="http://schemas.microsoft.com/office/drawing/2014/main" id="{23865EFB-F88B-55A0-3792-F03FF10F06F1}"/>
                </a:ext>
              </a:extLst>
            </p:cNvPr>
            <p:cNvGrpSpPr/>
            <p:nvPr/>
          </p:nvGrpSpPr>
          <p:grpSpPr>
            <a:xfrm>
              <a:off x="1952254" y="3704981"/>
              <a:ext cx="1047752" cy="345579"/>
              <a:chOff x="1793417" y="2057040"/>
              <a:chExt cx="1047752" cy="345579"/>
            </a:xfrm>
          </p:grpSpPr>
          <p:grpSp>
            <p:nvGrpSpPr>
              <p:cNvPr id="124" name="Group 123">
                <a:extLst>
                  <a:ext uri="{FF2B5EF4-FFF2-40B4-BE49-F238E27FC236}">
                    <a16:creationId xmlns:a16="http://schemas.microsoft.com/office/drawing/2014/main" id="{59C99ACA-6158-865D-5672-D95CD86DEB20}"/>
                  </a:ext>
                </a:extLst>
              </p:cNvPr>
              <p:cNvGrpSpPr/>
              <p:nvPr/>
            </p:nvGrpSpPr>
            <p:grpSpPr>
              <a:xfrm>
                <a:off x="1793417" y="2057040"/>
                <a:ext cx="343563" cy="345579"/>
                <a:chOff x="4983693" y="1073777"/>
                <a:chExt cx="368029" cy="370189"/>
              </a:xfrm>
            </p:grpSpPr>
            <p:sp>
              <p:nvSpPr>
                <p:cNvPr id="133" name="Freeform 326">
                  <a:extLst>
                    <a:ext uri="{FF2B5EF4-FFF2-40B4-BE49-F238E27FC236}">
                      <a16:creationId xmlns:a16="http://schemas.microsoft.com/office/drawing/2014/main" id="{D6D68090-FB28-9C9A-8394-5560FA38E021}"/>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34" name="Freeform 329">
                  <a:extLst>
                    <a:ext uri="{FF2B5EF4-FFF2-40B4-BE49-F238E27FC236}">
                      <a16:creationId xmlns:a16="http://schemas.microsoft.com/office/drawing/2014/main" id="{26AD5617-849F-D8BD-395E-B540C160313F}"/>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35" name="Freeform 330">
                  <a:extLst>
                    <a:ext uri="{FF2B5EF4-FFF2-40B4-BE49-F238E27FC236}">
                      <a16:creationId xmlns:a16="http://schemas.microsoft.com/office/drawing/2014/main" id="{F8C0C446-3D2C-6E99-E6ED-003557708B6D}"/>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25" name="Group 124">
                <a:extLst>
                  <a:ext uri="{FF2B5EF4-FFF2-40B4-BE49-F238E27FC236}">
                    <a16:creationId xmlns:a16="http://schemas.microsoft.com/office/drawing/2014/main" id="{70FEA9A1-77D3-AFC0-89B1-9DA4CA418B1B}"/>
                  </a:ext>
                </a:extLst>
              </p:cNvPr>
              <p:cNvGrpSpPr/>
              <p:nvPr/>
            </p:nvGrpSpPr>
            <p:grpSpPr>
              <a:xfrm>
                <a:off x="2145511" y="2057040"/>
                <a:ext cx="343563" cy="345579"/>
                <a:chOff x="4983693" y="1073777"/>
                <a:chExt cx="368029" cy="370189"/>
              </a:xfrm>
            </p:grpSpPr>
            <p:sp>
              <p:nvSpPr>
                <p:cNvPr id="130" name="Freeform 326">
                  <a:extLst>
                    <a:ext uri="{FF2B5EF4-FFF2-40B4-BE49-F238E27FC236}">
                      <a16:creationId xmlns:a16="http://schemas.microsoft.com/office/drawing/2014/main" id="{1C1C6CA4-40DC-48C9-63DC-3E051A0FCD7A}"/>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31" name="Freeform 329">
                  <a:extLst>
                    <a:ext uri="{FF2B5EF4-FFF2-40B4-BE49-F238E27FC236}">
                      <a16:creationId xmlns:a16="http://schemas.microsoft.com/office/drawing/2014/main" id="{5C0DC34A-AE4F-A3B2-4315-102DEE50CD4E}"/>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32" name="Freeform 330">
                  <a:extLst>
                    <a:ext uri="{FF2B5EF4-FFF2-40B4-BE49-F238E27FC236}">
                      <a16:creationId xmlns:a16="http://schemas.microsoft.com/office/drawing/2014/main" id="{1D8607B3-AB3F-3154-EBCF-E4532602B205}"/>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26" name="Group 125">
                <a:extLst>
                  <a:ext uri="{FF2B5EF4-FFF2-40B4-BE49-F238E27FC236}">
                    <a16:creationId xmlns:a16="http://schemas.microsoft.com/office/drawing/2014/main" id="{09D1FC28-0E51-DA9F-CC88-7D19AF8CFF0D}"/>
                  </a:ext>
                </a:extLst>
              </p:cNvPr>
              <p:cNvGrpSpPr/>
              <p:nvPr/>
            </p:nvGrpSpPr>
            <p:grpSpPr>
              <a:xfrm>
                <a:off x="2497606" y="2057040"/>
                <a:ext cx="343563" cy="345579"/>
                <a:chOff x="4983693" y="1073777"/>
                <a:chExt cx="368029" cy="370189"/>
              </a:xfrm>
            </p:grpSpPr>
            <p:sp>
              <p:nvSpPr>
                <p:cNvPr id="127" name="Freeform 326">
                  <a:extLst>
                    <a:ext uri="{FF2B5EF4-FFF2-40B4-BE49-F238E27FC236}">
                      <a16:creationId xmlns:a16="http://schemas.microsoft.com/office/drawing/2014/main" id="{2CA539A3-D89A-0E31-855F-8CE63638A755}"/>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28" name="Freeform 329">
                  <a:extLst>
                    <a:ext uri="{FF2B5EF4-FFF2-40B4-BE49-F238E27FC236}">
                      <a16:creationId xmlns:a16="http://schemas.microsoft.com/office/drawing/2014/main" id="{36DFD614-DE27-47F1-0AE1-104F21699772}"/>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29" name="Freeform 330">
                  <a:extLst>
                    <a:ext uri="{FF2B5EF4-FFF2-40B4-BE49-F238E27FC236}">
                      <a16:creationId xmlns:a16="http://schemas.microsoft.com/office/drawing/2014/main" id="{9E2A12EF-7141-A0A3-9459-58DA3722A40D}"/>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nvGrpSpPr>
            <p:cNvPr id="136" name="Group 135">
              <a:extLst>
                <a:ext uri="{FF2B5EF4-FFF2-40B4-BE49-F238E27FC236}">
                  <a16:creationId xmlns:a16="http://schemas.microsoft.com/office/drawing/2014/main" id="{E3578E62-31E9-9B8B-9330-DD868C365956}"/>
                </a:ext>
              </a:extLst>
            </p:cNvPr>
            <p:cNvGrpSpPr/>
            <p:nvPr/>
          </p:nvGrpSpPr>
          <p:grpSpPr>
            <a:xfrm>
              <a:off x="4717863" y="3704981"/>
              <a:ext cx="1047752" cy="345579"/>
              <a:chOff x="1793417" y="2057040"/>
              <a:chExt cx="1047752" cy="345579"/>
            </a:xfrm>
          </p:grpSpPr>
          <p:grpSp>
            <p:nvGrpSpPr>
              <p:cNvPr id="137" name="Group 136">
                <a:extLst>
                  <a:ext uri="{FF2B5EF4-FFF2-40B4-BE49-F238E27FC236}">
                    <a16:creationId xmlns:a16="http://schemas.microsoft.com/office/drawing/2014/main" id="{91F0D065-E2BD-9F9B-D79A-1EAE4D524BEC}"/>
                  </a:ext>
                </a:extLst>
              </p:cNvPr>
              <p:cNvGrpSpPr/>
              <p:nvPr/>
            </p:nvGrpSpPr>
            <p:grpSpPr>
              <a:xfrm>
                <a:off x="1793417" y="2057040"/>
                <a:ext cx="343563" cy="345579"/>
                <a:chOff x="4983693" y="1073777"/>
                <a:chExt cx="368029" cy="370189"/>
              </a:xfrm>
            </p:grpSpPr>
            <p:sp>
              <p:nvSpPr>
                <p:cNvPr id="146" name="Freeform 326">
                  <a:extLst>
                    <a:ext uri="{FF2B5EF4-FFF2-40B4-BE49-F238E27FC236}">
                      <a16:creationId xmlns:a16="http://schemas.microsoft.com/office/drawing/2014/main" id="{FB867C0A-EA02-26E1-8465-6E119970D3C1}"/>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47" name="Freeform 329">
                  <a:extLst>
                    <a:ext uri="{FF2B5EF4-FFF2-40B4-BE49-F238E27FC236}">
                      <a16:creationId xmlns:a16="http://schemas.microsoft.com/office/drawing/2014/main" id="{31A4F73E-A8DE-6D48-885E-E15DD287CEBD}"/>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48" name="Freeform 330">
                  <a:extLst>
                    <a:ext uri="{FF2B5EF4-FFF2-40B4-BE49-F238E27FC236}">
                      <a16:creationId xmlns:a16="http://schemas.microsoft.com/office/drawing/2014/main" id="{EC9CC1C6-5ACE-7FF0-4F47-30A64DCC08B7}"/>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38" name="Group 137">
                <a:extLst>
                  <a:ext uri="{FF2B5EF4-FFF2-40B4-BE49-F238E27FC236}">
                    <a16:creationId xmlns:a16="http://schemas.microsoft.com/office/drawing/2014/main" id="{5E82EDCE-5472-02E2-391A-06D6585068E2}"/>
                  </a:ext>
                </a:extLst>
              </p:cNvPr>
              <p:cNvGrpSpPr/>
              <p:nvPr/>
            </p:nvGrpSpPr>
            <p:grpSpPr>
              <a:xfrm>
                <a:off x="2145511" y="2057040"/>
                <a:ext cx="343563" cy="345579"/>
                <a:chOff x="4983693" y="1073777"/>
                <a:chExt cx="368029" cy="370189"/>
              </a:xfrm>
            </p:grpSpPr>
            <p:sp>
              <p:nvSpPr>
                <p:cNvPr id="143" name="Freeform 326">
                  <a:extLst>
                    <a:ext uri="{FF2B5EF4-FFF2-40B4-BE49-F238E27FC236}">
                      <a16:creationId xmlns:a16="http://schemas.microsoft.com/office/drawing/2014/main" id="{2CE2ED35-5AE7-488F-4F43-5F6F797C23C2}"/>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44" name="Freeform 329">
                  <a:extLst>
                    <a:ext uri="{FF2B5EF4-FFF2-40B4-BE49-F238E27FC236}">
                      <a16:creationId xmlns:a16="http://schemas.microsoft.com/office/drawing/2014/main" id="{7DA1978C-DED8-E3E4-E8F8-B64D56FBA800}"/>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45" name="Freeform 330">
                  <a:extLst>
                    <a:ext uri="{FF2B5EF4-FFF2-40B4-BE49-F238E27FC236}">
                      <a16:creationId xmlns:a16="http://schemas.microsoft.com/office/drawing/2014/main" id="{1010E285-1C2E-F6E8-6B5F-0C24002EAAB6}"/>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39" name="Group 138">
                <a:extLst>
                  <a:ext uri="{FF2B5EF4-FFF2-40B4-BE49-F238E27FC236}">
                    <a16:creationId xmlns:a16="http://schemas.microsoft.com/office/drawing/2014/main" id="{26859267-F1CB-8EF1-D9C9-888814212DD2}"/>
                  </a:ext>
                </a:extLst>
              </p:cNvPr>
              <p:cNvGrpSpPr/>
              <p:nvPr/>
            </p:nvGrpSpPr>
            <p:grpSpPr>
              <a:xfrm>
                <a:off x="2497606" y="2057040"/>
                <a:ext cx="343563" cy="345579"/>
                <a:chOff x="4983693" y="1073777"/>
                <a:chExt cx="368029" cy="370189"/>
              </a:xfrm>
            </p:grpSpPr>
            <p:sp>
              <p:nvSpPr>
                <p:cNvPr id="140" name="Freeform 326">
                  <a:extLst>
                    <a:ext uri="{FF2B5EF4-FFF2-40B4-BE49-F238E27FC236}">
                      <a16:creationId xmlns:a16="http://schemas.microsoft.com/office/drawing/2014/main" id="{9C2BD46C-CBC0-6D68-AF06-2A1F9E14AAA9}"/>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41" name="Freeform 329">
                  <a:extLst>
                    <a:ext uri="{FF2B5EF4-FFF2-40B4-BE49-F238E27FC236}">
                      <a16:creationId xmlns:a16="http://schemas.microsoft.com/office/drawing/2014/main" id="{D080AE25-03C5-4225-5ED1-FF9C16F68E11}"/>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42" name="Freeform 330">
                  <a:extLst>
                    <a:ext uri="{FF2B5EF4-FFF2-40B4-BE49-F238E27FC236}">
                      <a16:creationId xmlns:a16="http://schemas.microsoft.com/office/drawing/2014/main" id="{3FC97F14-6032-FB9A-175E-0138BBD10796}"/>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nvGrpSpPr>
            <p:cNvPr id="149" name="Group 148">
              <a:extLst>
                <a:ext uri="{FF2B5EF4-FFF2-40B4-BE49-F238E27FC236}">
                  <a16:creationId xmlns:a16="http://schemas.microsoft.com/office/drawing/2014/main" id="{3216C56C-04E6-7DE6-C0F3-652CB6C08F46}"/>
                </a:ext>
              </a:extLst>
            </p:cNvPr>
            <p:cNvGrpSpPr/>
            <p:nvPr/>
          </p:nvGrpSpPr>
          <p:grpSpPr>
            <a:xfrm>
              <a:off x="7483472" y="3704981"/>
              <a:ext cx="1047752" cy="345579"/>
              <a:chOff x="1793417" y="2057040"/>
              <a:chExt cx="1047752" cy="345579"/>
            </a:xfrm>
          </p:grpSpPr>
          <p:grpSp>
            <p:nvGrpSpPr>
              <p:cNvPr id="150" name="Group 149">
                <a:extLst>
                  <a:ext uri="{FF2B5EF4-FFF2-40B4-BE49-F238E27FC236}">
                    <a16:creationId xmlns:a16="http://schemas.microsoft.com/office/drawing/2014/main" id="{7A80952C-CC13-E3CA-968E-BF3C75A521B9}"/>
                  </a:ext>
                </a:extLst>
              </p:cNvPr>
              <p:cNvGrpSpPr/>
              <p:nvPr/>
            </p:nvGrpSpPr>
            <p:grpSpPr>
              <a:xfrm>
                <a:off x="1793417" y="2057040"/>
                <a:ext cx="343563" cy="345579"/>
                <a:chOff x="4983693" y="1073777"/>
                <a:chExt cx="368029" cy="370189"/>
              </a:xfrm>
            </p:grpSpPr>
            <p:sp>
              <p:nvSpPr>
                <p:cNvPr id="159" name="Freeform 326">
                  <a:extLst>
                    <a:ext uri="{FF2B5EF4-FFF2-40B4-BE49-F238E27FC236}">
                      <a16:creationId xmlns:a16="http://schemas.microsoft.com/office/drawing/2014/main" id="{42887415-8EBA-0E94-3CC0-29F8818A595D}"/>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60" name="Freeform 329">
                  <a:extLst>
                    <a:ext uri="{FF2B5EF4-FFF2-40B4-BE49-F238E27FC236}">
                      <a16:creationId xmlns:a16="http://schemas.microsoft.com/office/drawing/2014/main" id="{369940DD-2C99-01A7-0FEF-2FDC4006642B}"/>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61" name="Freeform 330">
                  <a:extLst>
                    <a:ext uri="{FF2B5EF4-FFF2-40B4-BE49-F238E27FC236}">
                      <a16:creationId xmlns:a16="http://schemas.microsoft.com/office/drawing/2014/main" id="{BD564114-69F2-562C-93AC-6DEA55263721}"/>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51" name="Group 150">
                <a:extLst>
                  <a:ext uri="{FF2B5EF4-FFF2-40B4-BE49-F238E27FC236}">
                    <a16:creationId xmlns:a16="http://schemas.microsoft.com/office/drawing/2014/main" id="{C6A58BD9-C48A-09EA-31FF-8557A29069DA}"/>
                  </a:ext>
                </a:extLst>
              </p:cNvPr>
              <p:cNvGrpSpPr/>
              <p:nvPr/>
            </p:nvGrpSpPr>
            <p:grpSpPr>
              <a:xfrm>
                <a:off x="2145511" y="2057040"/>
                <a:ext cx="343563" cy="345579"/>
                <a:chOff x="4983693" y="1073777"/>
                <a:chExt cx="368029" cy="370189"/>
              </a:xfrm>
            </p:grpSpPr>
            <p:sp>
              <p:nvSpPr>
                <p:cNvPr id="156" name="Freeform 326">
                  <a:extLst>
                    <a:ext uri="{FF2B5EF4-FFF2-40B4-BE49-F238E27FC236}">
                      <a16:creationId xmlns:a16="http://schemas.microsoft.com/office/drawing/2014/main" id="{FDA3C232-6787-9479-F5CE-984FFFE8C4EB}"/>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57" name="Freeform 329">
                  <a:extLst>
                    <a:ext uri="{FF2B5EF4-FFF2-40B4-BE49-F238E27FC236}">
                      <a16:creationId xmlns:a16="http://schemas.microsoft.com/office/drawing/2014/main" id="{DB05587B-9CA4-EEAA-F131-7603E77B998A}"/>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58" name="Freeform 330">
                  <a:extLst>
                    <a:ext uri="{FF2B5EF4-FFF2-40B4-BE49-F238E27FC236}">
                      <a16:creationId xmlns:a16="http://schemas.microsoft.com/office/drawing/2014/main" id="{6FC5FFE3-C636-873F-A03A-589CCDEC3204}"/>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52" name="Group 151">
                <a:extLst>
                  <a:ext uri="{FF2B5EF4-FFF2-40B4-BE49-F238E27FC236}">
                    <a16:creationId xmlns:a16="http://schemas.microsoft.com/office/drawing/2014/main" id="{6F091592-0656-7093-971F-71000D5DC344}"/>
                  </a:ext>
                </a:extLst>
              </p:cNvPr>
              <p:cNvGrpSpPr/>
              <p:nvPr/>
            </p:nvGrpSpPr>
            <p:grpSpPr>
              <a:xfrm>
                <a:off x="2497606" y="2057040"/>
                <a:ext cx="343563" cy="345579"/>
                <a:chOff x="4983693" y="1073777"/>
                <a:chExt cx="368029" cy="370189"/>
              </a:xfrm>
            </p:grpSpPr>
            <p:sp>
              <p:nvSpPr>
                <p:cNvPr id="153" name="Freeform 326">
                  <a:extLst>
                    <a:ext uri="{FF2B5EF4-FFF2-40B4-BE49-F238E27FC236}">
                      <a16:creationId xmlns:a16="http://schemas.microsoft.com/office/drawing/2014/main" id="{FD3A23CB-5244-0FB0-3C7A-13AAEE49E9F5}"/>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54" name="Freeform 329">
                  <a:extLst>
                    <a:ext uri="{FF2B5EF4-FFF2-40B4-BE49-F238E27FC236}">
                      <a16:creationId xmlns:a16="http://schemas.microsoft.com/office/drawing/2014/main" id="{07EF1FA0-CF50-82CB-DD29-A16049162E61}"/>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55" name="Freeform 330">
                  <a:extLst>
                    <a:ext uri="{FF2B5EF4-FFF2-40B4-BE49-F238E27FC236}">
                      <a16:creationId xmlns:a16="http://schemas.microsoft.com/office/drawing/2014/main" id="{D63BFEB3-2C23-F226-BE8F-C2BE2E09D698}"/>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nvGrpSpPr>
            <p:cNvPr id="162" name="Group 161">
              <a:extLst>
                <a:ext uri="{FF2B5EF4-FFF2-40B4-BE49-F238E27FC236}">
                  <a16:creationId xmlns:a16="http://schemas.microsoft.com/office/drawing/2014/main" id="{A58698B7-8B25-173D-0B3B-039EADD1B9A3}"/>
                </a:ext>
              </a:extLst>
            </p:cNvPr>
            <p:cNvGrpSpPr/>
            <p:nvPr/>
          </p:nvGrpSpPr>
          <p:grpSpPr>
            <a:xfrm>
              <a:off x="10249082" y="3704981"/>
              <a:ext cx="1047752" cy="345579"/>
              <a:chOff x="1793417" y="2057040"/>
              <a:chExt cx="1047752" cy="345579"/>
            </a:xfrm>
          </p:grpSpPr>
          <p:grpSp>
            <p:nvGrpSpPr>
              <p:cNvPr id="163" name="Group 162">
                <a:extLst>
                  <a:ext uri="{FF2B5EF4-FFF2-40B4-BE49-F238E27FC236}">
                    <a16:creationId xmlns:a16="http://schemas.microsoft.com/office/drawing/2014/main" id="{DB2E1855-2DBB-EA31-E90A-770BF6053B9B}"/>
                  </a:ext>
                </a:extLst>
              </p:cNvPr>
              <p:cNvGrpSpPr/>
              <p:nvPr/>
            </p:nvGrpSpPr>
            <p:grpSpPr>
              <a:xfrm>
                <a:off x="1793417" y="2057040"/>
                <a:ext cx="343563" cy="345579"/>
                <a:chOff x="4983693" y="1073777"/>
                <a:chExt cx="368029" cy="370189"/>
              </a:xfrm>
            </p:grpSpPr>
            <p:sp>
              <p:nvSpPr>
                <p:cNvPr id="172" name="Freeform 326">
                  <a:extLst>
                    <a:ext uri="{FF2B5EF4-FFF2-40B4-BE49-F238E27FC236}">
                      <a16:creationId xmlns:a16="http://schemas.microsoft.com/office/drawing/2014/main" id="{FF1430B7-3411-0245-C6B3-8734A24B8D91}"/>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73" name="Freeform 329">
                  <a:extLst>
                    <a:ext uri="{FF2B5EF4-FFF2-40B4-BE49-F238E27FC236}">
                      <a16:creationId xmlns:a16="http://schemas.microsoft.com/office/drawing/2014/main" id="{4D67D6A6-2FC8-8129-2413-67F9523FCF6D}"/>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74" name="Freeform 330">
                  <a:extLst>
                    <a:ext uri="{FF2B5EF4-FFF2-40B4-BE49-F238E27FC236}">
                      <a16:creationId xmlns:a16="http://schemas.microsoft.com/office/drawing/2014/main" id="{B6F214F3-4BAB-A438-4CF4-08025633C87C}"/>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64" name="Group 163">
                <a:extLst>
                  <a:ext uri="{FF2B5EF4-FFF2-40B4-BE49-F238E27FC236}">
                    <a16:creationId xmlns:a16="http://schemas.microsoft.com/office/drawing/2014/main" id="{7FA5F661-AB59-8FF2-D241-87C9E2BC6D0A}"/>
                  </a:ext>
                </a:extLst>
              </p:cNvPr>
              <p:cNvGrpSpPr/>
              <p:nvPr/>
            </p:nvGrpSpPr>
            <p:grpSpPr>
              <a:xfrm>
                <a:off x="2145511" y="2057040"/>
                <a:ext cx="343563" cy="345579"/>
                <a:chOff x="4983693" y="1073777"/>
                <a:chExt cx="368029" cy="370189"/>
              </a:xfrm>
            </p:grpSpPr>
            <p:sp>
              <p:nvSpPr>
                <p:cNvPr id="169" name="Freeform 326">
                  <a:extLst>
                    <a:ext uri="{FF2B5EF4-FFF2-40B4-BE49-F238E27FC236}">
                      <a16:creationId xmlns:a16="http://schemas.microsoft.com/office/drawing/2014/main" id="{C86A6A81-13D4-0A40-17B6-5712EF3904E6}"/>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70" name="Freeform 329">
                  <a:extLst>
                    <a:ext uri="{FF2B5EF4-FFF2-40B4-BE49-F238E27FC236}">
                      <a16:creationId xmlns:a16="http://schemas.microsoft.com/office/drawing/2014/main" id="{8F8EE099-F946-0787-3C58-62679DA41126}"/>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71" name="Freeform 330">
                  <a:extLst>
                    <a:ext uri="{FF2B5EF4-FFF2-40B4-BE49-F238E27FC236}">
                      <a16:creationId xmlns:a16="http://schemas.microsoft.com/office/drawing/2014/main" id="{80BB2182-E09E-D1C5-13EF-E432B991C43E}"/>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65" name="Group 164">
                <a:extLst>
                  <a:ext uri="{FF2B5EF4-FFF2-40B4-BE49-F238E27FC236}">
                    <a16:creationId xmlns:a16="http://schemas.microsoft.com/office/drawing/2014/main" id="{F3E927E9-565E-D1CA-E31A-EEFBFD9FC9A1}"/>
                  </a:ext>
                </a:extLst>
              </p:cNvPr>
              <p:cNvGrpSpPr/>
              <p:nvPr/>
            </p:nvGrpSpPr>
            <p:grpSpPr>
              <a:xfrm>
                <a:off x="2497606" y="2057040"/>
                <a:ext cx="343563" cy="345579"/>
                <a:chOff x="4983693" y="1073777"/>
                <a:chExt cx="368029" cy="370189"/>
              </a:xfrm>
            </p:grpSpPr>
            <p:sp>
              <p:nvSpPr>
                <p:cNvPr id="166" name="Freeform 326">
                  <a:extLst>
                    <a:ext uri="{FF2B5EF4-FFF2-40B4-BE49-F238E27FC236}">
                      <a16:creationId xmlns:a16="http://schemas.microsoft.com/office/drawing/2014/main" id="{64874C93-960A-2361-5E91-B03A2DF5DD92}"/>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67" name="Freeform 329">
                  <a:extLst>
                    <a:ext uri="{FF2B5EF4-FFF2-40B4-BE49-F238E27FC236}">
                      <a16:creationId xmlns:a16="http://schemas.microsoft.com/office/drawing/2014/main" id="{13F493FF-DE93-3570-FFC5-4655D9B96E2B}"/>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68" name="Freeform 330">
                  <a:extLst>
                    <a:ext uri="{FF2B5EF4-FFF2-40B4-BE49-F238E27FC236}">
                      <a16:creationId xmlns:a16="http://schemas.microsoft.com/office/drawing/2014/main" id="{265F8A6D-1F99-F4BE-DAD9-25F22B5D9B0C}"/>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grpSp>
        <p:nvGrpSpPr>
          <p:cNvPr id="216" name="Group 215">
            <a:extLst>
              <a:ext uri="{FF2B5EF4-FFF2-40B4-BE49-F238E27FC236}">
                <a16:creationId xmlns:a16="http://schemas.microsoft.com/office/drawing/2014/main" id="{8FEC35C9-594B-46B9-E8C3-3C7F987C924F}"/>
              </a:ext>
            </a:extLst>
          </p:cNvPr>
          <p:cNvGrpSpPr/>
          <p:nvPr/>
        </p:nvGrpSpPr>
        <p:grpSpPr>
          <a:xfrm>
            <a:off x="3010516" y="1863041"/>
            <a:ext cx="1260000" cy="1563543"/>
            <a:chOff x="3010516" y="1863041"/>
            <a:chExt cx="1260000" cy="1563543"/>
          </a:xfrm>
        </p:grpSpPr>
        <p:sp>
          <p:nvSpPr>
            <p:cNvPr id="75" name="Rectangle: Rounded Corners 74">
              <a:extLst>
                <a:ext uri="{FF2B5EF4-FFF2-40B4-BE49-F238E27FC236}">
                  <a16:creationId xmlns:a16="http://schemas.microsoft.com/office/drawing/2014/main" id="{BF3E7F3D-3D55-466D-3C4C-45F4483F863A}"/>
                </a:ext>
              </a:extLst>
            </p:cNvPr>
            <p:cNvSpPr/>
            <p:nvPr/>
          </p:nvSpPr>
          <p:spPr>
            <a:xfrm>
              <a:off x="3010516" y="1863041"/>
              <a:ext cx="1260000" cy="156354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err="1"/>
            </a:p>
          </p:txBody>
        </p:sp>
        <p:grpSp>
          <p:nvGrpSpPr>
            <p:cNvPr id="175" name="Group 174">
              <a:extLst>
                <a:ext uri="{FF2B5EF4-FFF2-40B4-BE49-F238E27FC236}">
                  <a16:creationId xmlns:a16="http://schemas.microsoft.com/office/drawing/2014/main" id="{1E77998E-B094-CBA4-93EC-B37A5322DEF6}"/>
                </a:ext>
              </a:extLst>
            </p:cNvPr>
            <p:cNvGrpSpPr/>
            <p:nvPr/>
          </p:nvGrpSpPr>
          <p:grpSpPr>
            <a:xfrm>
              <a:off x="3111559" y="2076440"/>
              <a:ext cx="1059438" cy="1209115"/>
              <a:chOff x="1667295" y="2057040"/>
              <a:chExt cx="1059438" cy="1209115"/>
            </a:xfrm>
          </p:grpSpPr>
          <p:grpSp>
            <p:nvGrpSpPr>
              <p:cNvPr id="176" name="Group 175">
                <a:extLst>
                  <a:ext uri="{FF2B5EF4-FFF2-40B4-BE49-F238E27FC236}">
                    <a16:creationId xmlns:a16="http://schemas.microsoft.com/office/drawing/2014/main" id="{F4F4050E-F943-86C5-7969-00F8D15123E5}"/>
                  </a:ext>
                </a:extLst>
              </p:cNvPr>
              <p:cNvGrpSpPr/>
              <p:nvPr/>
            </p:nvGrpSpPr>
            <p:grpSpPr>
              <a:xfrm>
                <a:off x="1667295" y="2057040"/>
                <a:ext cx="1047752" cy="345579"/>
                <a:chOff x="1793417" y="2057040"/>
                <a:chExt cx="1047752" cy="345579"/>
              </a:xfrm>
            </p:grpSpPr>
            <p:grpSp>
              <p:nvGrpSpPr>
                <p:cNvPr id="203" name="Group 202">
                  <a:extLst>
                    <a:ext uri="{FF2B5EF4-FFF2-40B4-BE49-F238E27FC236}">
                      <a16:creationId xmlns:a16="http://schemas.microsoft.com/office/drawing/2014/main" id="{DFE5F65F-2015-6345-D44E-8C273BAD8D22}"/>
                    </a:ext>
                  </a:extLst>
                </p:cNvPr>
                <p:cNvGrpSpPr/>
                <p:nvPr/>
              </p:nvGrpSpPr>
              <p:grpSpPr>
                <a:xfrm>
                  <a:off x="1793417" y="2057040"/>
                  <a:ext cx="343563" cy="345579"/>
                  <a:chOff x="4983693" y="1073777"/>
                  <a:chExt cx="368029" cy="370189"/>
                </a:xfrm>
              </p:grpSpPr>
              <p:sp>
                <p:nvSpPr>
                  <p:cNvPr id="212" name="Freeform 326">
                    <a:extLst>
                      <a:ext uri="{FF2B5EF4-FFF2-40B4-BE49-F238E27FC236}">
                        <a16:creationId xmlns:a16="http://schemas.microsoft.com/office/drawing/2014/main" id="{7483338F-3D9E-BA78-1560-18371A1BB995}"/>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13" name="Freeform 329">
                    <a:extLst>
                      <a:ext uri="{FF2B5EF4-FFF2-40B4-BE49-F238E27FC236}">
                        <a16:creationId xmlns:a16="http://schemas.microsoft.com/office/drawing/2014/main" id="{23DB0039-E85E-A2E6-A16B-A3EA3CE35977}"/>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14" name="Freeform 330">
                    <a:extLst>
                      <a:ext uri="{FF2B5EF4-FFF2-40B4-BE49-F238E27FC236}">
                        <a16:creationId xmlns:a16="http://schemas.microsoft.com/office/drawing/2014/main" id="{9F152227-4D08-6BAC-A08F-1F79C9C6DA20}"/>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04" name="Group 203">
                  <a:extLst>
                    <a:ext uri="{FF2B5EF4-FFF2-40B4-BE49-F238E27FC236}">
                      <a16:creationId xmlns:a16="http://schemas.microsoft.com/office/drawing/2014/main" id="{11F56187-C10F-51E8-77F5-58F511D530B2}"/>
                    </a:ext>
                  </a:extLst>
                </p:cNvPr>
                <p:cNvGrpSpPr/>
                <p:nvPr/>
              </p:nvGrpSpPr>
              <p:grpSpPr>
                <a:xfrm>
                  <a:off x="2145511" y="2057040"/>
                  <a:ext cx="343563" cy="345579"/>
                  <a:chOff x="4983693" y="1073777"/>
                  <a:chExt cx="368029" cy="370189"/>
                </a:xfrm>
              </p:grpSpPr>
              <p:sp>
                <p:nvSpPr>
                  <p:cNvPr id="209" name="Freeform 326">
                    <a:extLst>
                      <a:ext uri="{FF2B5EF4-FFF2-40B4-BE49-F238E27FC236}">
                        <a16:creationId xmlns:a16="http://schemas.microsoft.com/office/drawing/2014/main" id="{6E1D1635-EFFC-E350-950C-80667545E51A}"/>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10" name="Freeform 329">
                    <a:extLst>
                      <a:ext uri="{FF2B5EF4-FFF2-40B4-BE49-F238E27FC236}">
                        <a16:creationId xmlns:a16="http://schemas.microsoft.com/office/drawing/2014/main" id="{2D0374DD-0F34-D21D-8131-96F871CF95A5}"/>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11" name="Freeform 330">
                    <a:extLst>
                      <a:ext uri="{FF2B5EF4-FFF2-40B4-BE49-F238E27FC236}">
                        <a16:creationId xmlns:a16="http://schemas.microsoft.com/office/drawing/2014/main" id="{5C0643D5-9010-F135-906B-B973D8D47C6E}"/>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05" name="Group 204">
                  <a:extLst>
                    <a:ext uri="{FF2B5EF4-FFF2-40B4-BE49-F238E27FC236}">
                      <a16:creationId xmlns:a16="http://schemas.microsoft.com/office/drawing/2014/main" id="{4265D357-62E5-A2DE-FF24-D1F1AAE8A8AD}"/>
                    </a:ext>
                  </a:extLst>
                </p:cNvPr>
                <p:cNvGrpSpPr/>
                <p:nvPr/>
              </p:nvGrpSpPr>
              <p:grpSpPr>
                <a:xfrm>
                  <a:off x="2497606" y="2057040"/>
                  <a:ext cx="343563" cy="345579"/>
                  <a:chOff x="4983693" y="1073777"/>
                  <a:chExt cx="368029" cy="370189"/>
                </a:xfrm>
              </p:grpSpPr>
              <p:sp>
                <p:nvSpPr>
                  <p:cNvPr id="206" name="Freeform 326">
                    <a:extLst>
                      <a:ext uri="{FF2B5EF4-FFF2-40B4-BE49-F238E27FC236}">
                        <a16:creationId xmlns:a16="http://schemas.microsoft.com/office/drawing/2014/main" id="{8375DA99-9167-1811-7ED4-11818E4867D0}"/>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07" name="Freeform 329">
                    <a:extLst>
                      <a:ext uri="{FF2B5EF4-FFF2-40B4-BE49-F238E27FC236}">
                        <a16:creationId xmlns:a16="http://schemas.microsoft.com/office/drawing/2014/main" id="{706C46EA-33D2-5111-61C1-DF7D4E3F36A8}"/>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08" name="Freeform 330">
                    <a:extLst>
                      <a:ext uri="{FF2B5EF4-FFF2-40B4-BE49-F238E27FC236}">
                        <a16:creationId xmlns:a16="http://schemas.microsoft.com/office/drawing/2014/main" id="{C4C55DFA-1CE0-F218-2926-6CD4E9E0D3C2}"/>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nvGrpSpPr>
              <p:cNvPr id="177" name="Group 176">
                <a:extLst>
                  <a:ext uri="{FF2B5EF4-FFF2-40B4-BE49-F238E27FC236}">
                    <a16:creationId xmlns:a16="http://schemas.microsoft.com/office/drawing/2014/main" id="{C9B9143A-B6DF-788C-503C-6371553E89FC}"/>
                  </a:ext>
                </a:extLst>
              </p:cNvPr>
              <p:cNvGrpSpPr/>
              <p:nvPr/>
            </p:nvGrpSpPr>
            <p:grpSpPr>
              <a:xfrm>
                <a:off x="1667295" y="2493857"/>
                <a:ext cx="1047752" cy="345579"/>
                <a:chOff x="1793417" y="2057040"/>
                <a:chExt cx="1047752" cy="345579"/>
              </a:xfrm>
            </p:grpSpPr>
            <p:grpSp>
              <p:nvGrpSpPr>
                <p:cNvPr id="191" name="Group 190">
                  <a:extLst>
                    <a:ext uri="{FF2B5EF4-FFF2-40B4-BE49-F238E27FC236}">
                      <a16:creationId xmlns:a16="http://schemas.microsoft.com/office/drawing/2014/main" id="{7CBF3FC6-C63B-DC78-F8FA-0DC0275E89DA}"/>
                    </a:ext>
                  </a:extLst>
                </p:cNvPr>
                <p:cNvGrpSpPr/>
                <p:nvPr/>
              </p:nvGrpSpPr>
              <p:grpSpPr>
                <a:xfrm>
                  <a:off x="1793417" y="2057040"/>
                  <a:ext cx="343563" cy="345579"/>
                  <a:chOff x="4983693" y="1073777"/>
                  <a:chExt cx="368029" cy="370189"/>
                </a:xfrm>
              </p:grpSpPr>
              <p:sp>
                <p:nvSpPr>
                  <p:cNvPr id="200" name="Freeform 326">
                    <a:extLst>
                      <a:ext uri="{FF2B5EF4-FFF2-40B4-BE49-F238E27FC236}">
                        <a16:creationId xmlns:a16="http://schemas.microsoft.com/office/drawing/2014/main" id="{140EDD9A-57CB-C2A4-E416-0D1387895B12}"/>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01" name="Freeform 329">
                    <a:extLst>
                      <a:ext uri="{FF2B5EF4-FFF2-40B4-BE49-F238E27FC236}">
                        <a16:creationId xmlns:a16="http://schemas.microsoft.com/office/drawing/2014/main" id="{3754C943-ABEB-9557-5087-7C2167899E23}"/>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02" name="Freeform 330">
                    <a:extLst>
                      <a:ext uri="{FF2B5EF4-FFF2-40B4-BE49-F238E27FC236}">
                        <a16:creationId xmlns:a16="http://schemas.microsoft.com/office/drawing/2014/main" id="{D309E788-9D23-2C55-A4CE-1389029E452F}"/>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92" name="Group 191">
                  <a:extLst>
                    <a:ext uri="{FF2B5EF4-FFF2-40B4-BE49-F238E27FC236}">
                      <a16:creationId xmlns:a16="http://schemas.microsoft.com/office/drawing/2014/main" id="{C4BBD0C2-DB6E-4EB6-ABC5-19E4BB3A9B4F}"/>
                    </a:ext>
                  </a:extLst>
                </p:cNvPr>
                <p:cNvGrpSpPr/>
                <p:nvPr/>
              </p:nvGrpSpPr>
              <p:grpSpPr>
                <a:xfrm>
                  <a:off x="2145511" y="2057040"/>
                  <a:ext cx="343563" cy="345579"/>
                  <a:chOff x="4983693" y="1073777"/>
                  <a:chExt cx="368029" cy="370189"/>
                </a:xfrm>
              </p:grpSpPr>
              <p:sp>
                <p:nvSpPr>
                  <p:cNvPr id="197" name="Freeform 326">
                    <a:extLst>
                      <a:ext uri="{FF2B5EF4-FFF2-40B4-BE49-F238E27FC236}">
                        <a16:creationId xmlns:a16="http://schemas.microsoft.com/office/drawing/2014/main" id="{5DD64F86-4BA6-33FC-06DB-799DB92C04F2}"/>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98" name="Freeform 329">
                    <a:extLst>
                      <a:ext uri="{FF2B5EF4-FFF2-40B4-BE49-F238E27FC236}">
                        <a16:creationId xmlns:a16="http://schemas.microsoft.com/office/drawing/2014/main" id="{B625C356-5F64-1ACB-D145-3540788D8022}"/>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99" name="Freeform 330">
                    <a:extLst>
                      <a:ext uri="{FF2B5EF4-FFF2-40B4-BE49-F238E27FC236}">
                        <a16:creationId xmlns:a16="http://schemas.microsoft.com/office/drawing/2014/main" id="{70042A9C-ED2F-AD7A-440C-CAF1923DDE75}"/>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93" name="Group 192">
                  <a:extLst>
                    <a:ext uri="{FF2B5EF4-FFF2-40B4-BE49-F238E27FC236}">
                      <a16:creationId xmlns:a16="http://schemas.microsoft.com/office/drawing/2014/main" id="{DEFA11D0-8C12-7171-A86D-3C4D2ABACE20}"/>
                    </a:ext>
                  </a:extLst>
                </p:cNvPr>
                <p:cNvGrpSpPr/>
                <p:nvPr/>
              </p:nvGrpSpPr>
              <p:grpSpPr>
                <a:xfrm>
                  <a:off x="2497606" y="2057040"/>
                  <a:ext cx="343563" cy="345579"/>
                  <a:chOff x="4983693" y="1073777"/>
                  <a:chExt cx="368029" cy="370189"/>
                </a:xfrm>
              </p:grpSpPr>
              <p:sp>
                <p:nvSpPr>
                  <p:cNvPr id="194" name="Freeform 326">
                    <a:extLst>
                      <a:ext uri="{FF2B5EF4-FFF2-40B4-BE49-F238E27FC236}">
                        <a16:creationId xmlns:a16="http://schemas.microsoft.com/office/drawing/2014/main" id="{7DF8829A-CC51-484F-78E2-6B03C15DA343}"/>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95" name="Freeform 329">
                    <a:extLst>
                      <a:ext uri="{FF2B5EF4-FFF2-40B4-BE49-F238E27FC236}">
                        <a16:creationId xmlns:a16="http://schemas.microsoft.com/office/drawing/2014/main" id="{BE4E9A1E-D475-2267-08AE-99D6C8CB7106}"/>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96" name="Freeform 330">
                    <a:extLst>
                      <a:ext uri="{FF2B5EF4-FFF2-40B4-BE49-F238E27FC236}">
                        <a16:creationId xmlns:a16="http://schemas.microsoft.com/office/drawing/2014/main" id="{8B628A6C-4DCF-E514-F138-20103D0DE612}"/>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nvGrpSpPr>
              <p:cNvPr id="178" name="Group 177">
                <a:extLst>
                  <a:ext uri="{FF2B5EF4-FFF2-40B4-BE49-F238E27FC236}">
                    <a16:creationId xmlns:a16="http://schemas.microsoft.com/office/drawing/2014/main" id="{B1985739-67B8-E8B1-93DD-AF787F5099C9}"/>
                  </a:ext>
                </a:extLst>
              </p:cNvPr>
              <p:cNvGrpSpPr/>
              <p:nvPr/>
            </p:nvGrpSpPr>
            <p:grpSpPr>
              <a:xfrm>
                <a:off x="1678981" y="2920576"/>
                <a:ext cx="1047752" cy="345579"/>
                <a:chOff x="1793417" y="2057040"/>
                <a:chExt cx="1047752" cy="345579"/>
              </a:xfrm>
            </p:grpSpPr>
            <p:grpSp>
              <p:nvGrpSpPr>
                <p:cNvPr id="179" name="Group 178">
                  <a:extLst>
                    <a:ext uri="{FF2B5EF4-FFF2-40B4-BE49-F238E27FC236}">
                      <a16:creationId xmlns:a16="http://schemas.microsoft.com/office/drawing/2014/main" id="{A253721A-D98E-7406-A24B-A8F646A10600}"/>
                    </a:ext>
                  </a:extLst>
                </p:cNvPr>
                <p:cNvGrpSpPr/>
                <p:nvPr/>
              </p:nvGrpSpPr>
              <p:grpSpPr>
                <a:xfrm>
                  <a:off x="1793417" y="2057040"/>
                  <a:ext cx="343563" cy="345579"/>
                  <a:chOff x="4983693" y="1073777"/>
                  <a:chExt cx="368029" cy="370189"/>
                </a:xfrm>
              </p:grpSpPr>
              <p:sp>
                <p:nvSpPr>
                  <p:cNvPr id="188" name="Freeform 326">
                    <a:extLst>
                      <a:ext uri="{FF2B5EF4-FFF2-40B4-BE49-F238E27FC236}">
                        <a16:creationId xmlns:a16="http://schemas.microsoft.com/office/drawing/2014/main" id="{9B45399E-6800-315E-8E1A-8031762B891E}"/>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89" name="Freeform 329">
                    <a:extLst>
                      <a:ext uri="{FF2B5EF4-FFF2-40B4-BE49-F238E27FC236}">
                        <a16:creationId xmlns:a16="http://schemas.microsoft.com/office/drawing/2014/main" id="{E349FF0E-FA2D-D233-556A-B229199D7CA7}"/>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90" name="Freeform 330">
                    <a:extLst>
                      <a:ext uri="{FF2B5EF4-FFF2-40B4-BE49-F238E27FC236}">
                        <a16:creationId xmlns:a16="http://schemas.microsoft.com/office/drawing/2014/main" id="{F9016085-BF0D-1150-8D33-AC30D6ED2BE9}"/>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80" name="Group 179">
                  <a:extLst>
                    <a:ext uri="{FF2B5EF4-FFF2-40B4-BE49-F238E27FC236}">
                      <a16:creationId xmlns:a16="http://schemas.microsoft.com/office/drawing/2014/main" id="{E9283376-4295-F8EF-0240-5280B59C5725}"/>
                    </a:ext>
                  </a:extLst>
                </p:cNvPr>
                <p:cNvGrpSpPr/>
                <p:nvPr/>
              </p:nvGrpSpPr>
              <p:grpSpPr>
                <a:xfrm>
                  <a:off x="2145511" y="2057040"/>
                  <a:ext cx="343563" cy="345579"/>
                  <a:chOff x="4983693" y="1073777"/>
                  <a:chExt cx="368029" cy="370189"/>
                </a:xfrm>
              </p:grpSpPr>
              <p:sp>
                <p:nvSpPr>
                  <p:cNvPr id="185" name="Freeform 326">
                    <a:extLst>
                      <a:ext uri="{FF2B5EF4-FFF2-40B4-BE49-F238E27FC236}">
                        <a16:creationId xmlns:a16="http://schemas.microsoft.com/office/drawing/2014/main" id="{3B3D9F50-E730-9653-ADDD-35DDBA36AA2C}"/>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86" name="Freeform 329">
                    <a:extLst>
                      <a:ext uri="{FF2B5EF4-FFF2-40B4-BE49-F238E27FC236}">
                        <a16:creationId xmlns:a16="http://schemas.microsoft.com/office/drawing/2014/main" id="{F062A4B6-C4C9-1DA2-C6CA-AA885E35A5A6}"/>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87" name="Freeform 330">
                    <a:extLst>
                      <a:ext uri="{FF2B5EF4-FFF2-40B4-BE49-F238E27FC236}">
                        <a16:creationId xmlns:a16="http://schemas.microsoft.com/office/drawing/2014/main" id="{BD198385-9E38-F965-B128-FDEA81DBF94E}"/>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181" name="Group 180">
                  <a:extLst>
                    <a:ext uri="{FF2B5EF4-FFF2-40B4-BE49-F238E27FC236}">
                      <a16:creationId xmlns:a16="http://schemas.microsoft.com/office/drawing/2014/main" id="{92E75052-64B0-BFE4-9799-9CE9BE86BCEC}"/>
                    </a:ext>
                  </a:extLst>
                </p:cNvPr>
                <p:cNvGrpSpPr/>
                <p:nvPr/>
              </p:nvGrpSpPr>
              <p:grpSpPr>
                <a:xfrm>
                  <a:off x="2497606" y="2057040"/>
                  <a:ext cx="343563" cy="345579"/>
                  <a:chOff x="4983693" y="1073777"/>
                  <a:chExt cx="368029" cy="370189"/>
                </a:xfrm>
              </p:grpSpPr>
              <p:sp>
                <p:nvSpPr>
                  <p:cNvPr id="182" name="Freeform 326">
                    <a:extLst>
                      <a:ext uri="{FF2B5EF4-FFF2-40B4-BE49-F238E27FC236}">
                        <a16:creationId xmlns:a16="http://schemas.microsoft.com/office/drawing/2014/main" id="{E8EDEF61-AB55-F4FF-4F3C-FB68D430BA19}"/>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83" name="Freeform 329">
                    <a:extLst>
                      <a:ext uri="{FF2B5EF4-FFF2-40B4-BE49-F238E27FC236}">
                        <a16:creationId xmlns:a16="http://schemas.microsoft.com/office/drawing/2014/main" id="{89FAC81B-1830-535D-9CB8-961CE7982F04}"/>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184" name="Freeform 330">
                    <a:extLst>
                      <a:ext uri="{FF2B5EF4-FFF2-40B4-BE49-F238E27FC236}">
                        <a16:creationId xmlns:a16="http://schemas.microsoft.com/office/drawing/2014/main" id="{B1055AA0-4F24-0AC1-20D7-AD7E672B353E}"/>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grpSp>
      <p:grpSp>
        <p:nvGrpSpPr>
          <p:cNvPr id="217" name="Group 216">
            <a:extLst>
              <a:ext uri="{FF2B5EF4-FFF2-40B4-BE49-F238E27FC236}">
                <a16:creationId xmlns:a16="http://schemas.microsoft.com/office/drawing/2014/main" id="{7A768F4F-B763-A6F5-93B7-CEE4D9DC28E9}"/>
              </a:ext>
            </a:extLst>
          </p:cNvPr>
          <p:cNvGrpSpPr/>
          <p:nvPr/>
        </p:nvGrpSpPr>
        <p:grpSpPr>
          <a:xfrm>
            <a:off x="4562895" y="2083317"/>
            <a:ext cx="1059438" cy="1209115"/>
            <a:chOff x="1667295" y="2057040"/>
            <a:chExt cx="1059438" cy="1209115"/>
          </a:xfrm>
        </p:grpSpPr>
        <p:grpSp>
          <p:nvGrpSpPr>
            <p:cNvPr id="218" name="Group 217">
              <a:extLst>
                <a:ext uri="{FF2B5EF4-FFF2-40B4-BE49-F238E27FC236}">
                  <a16:creationId xmlns:a16="http://schemas.microsoft.com/office/drawing/2014/main" id="{927DECCA-2CE7-CF94-0081-E11C9E0C9019}"/>
                </a:ext>
              </a:extLst>
            </p:cNvPr>
            <p:cNvGrpSpPr/>
            <p:nvPr/>
          </p:nvGrpSpPr>
          <p:grpSpPr>
            <a:xfrm>
              <a:off x="1667295" y="2057040"/>
              <a:ext cx="1047752" cy="345579"/>
              <a:chOff x="1793417" y="2057040"/>
              <a:chExt cx="1047752" cy="345579"/>
            </a:xfrm>
          </p:grpSpPr>
          <p:grpSp>
            <p:nvGrpSpPr>
              <p:cNvPr id="245" name="Group 244">
                <a:extLst>
                  <a:ext uri="{FF2B5EF4-FFF2-40B4-BE49-F238E27FC236}">
                    <a16:creationId xmlns:a16="http://schemas.microsoft.com/office/drawing/2014/main" id="{21E4DF82-D301-8814-4631-90DC3DD2DFCC}"/>
                  </a:ext>
                </a:extLst>
              </p:cNvPr>
              <p:cNvGrpSpPr/>
              <p:nvPr/>
            </p:nvGrpSpPr>
            <p:grpSpPr>
              <a:xfrm>
                <a:off x="1793417" y="2057040"/>
                <a:ext cx="343563" cy="345579"/>
                <a:chOff x="4983693" y="1073777"/>
                <a:chExt cx="368029" cy="370189"/>
              </a:xfrm>
            </p:grpSpPr>
            <p:sp>
              <p:nvSpPr>
                <p:cNvPr id="254" name="Freeform 326">
                  <a:extLst>
                    <a:ext uri="{FF2B5EF4-FFF2-40B4-BE49-F238E27FC236}">
                      <a16:creationId xmlns:a16="http://schemas.microsoft.com/office/drawing/2014/main" id="{0476D35D-28D2-E782-E8F4-1817D6AF9BEB}"/>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55" name="Freeform 329">
                  <a:extLst>
                    <a:ext uri="{FF2B5EF4-FFF2-40B4-BE49-F238E27FC236}">
                      <a16:creationId xmlns:a16="http://schemas.microsoft.com/office/drawing/2014/main" id="{4130F072-ED33-18C7-E28F-73108C29F6C4}"/>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56" name="Freeform 330">
                  <a:extLst>
                    <a:ext uri="{FF2B5EF4-FFF2-40B4-BE49-F238E27FC236}">
                      <a16:creationId xmlns:a16="http://schemas.microsoft.com/office/drawing/2014/main" id="{DC4A80F6-FEA7-96B9-CFCD-304FD3CD3004}"/>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46" name="Group 245">
                <a:extLst>
                  <a:ext uri="{FF2B5EF4-FFF2-40B4-BE49-F238E27FC236}">
                    <a16:creationId xmlns:a16="http://schemas.microsoft.com/office/drawing/2014/main" id="{2CB5AADF-C27F-9007-B294-19F466639878}"/>
                  </a:ext>
                </a:extLst>
              </p:cNvPr>
              <p:cNvGrpSpPr/>
              <p:nvPr/>
            </p:nvGrpSpPr>
            <p:grpSpPr>
              <a:xfrm>
                <a:off x="2145511" y="2057040"/>
                <a:ext cx="343563" cy="345579"/>
                <a:chOff x="4983693" y="1073777"/>
                <a:chExt cx="368029" cy="370189"/>
              </a:xfrm>
            </p:grpSpPr>
            <p:sp>
              <p:nvSpPr>
                <p:cNvPr id="251" name="Freeform 326">
                  <a:extLst>
                    <a:ext uri="{FF2B5EF4-FFF2-40B4-BE49-F238E27FC236}">
                      <a16:creationId xmlns:a16="http://schemas.microsoft.com/office/drawing/2014/main" id="{6F92F114-C3D9-A3B7-BFFB-428202D19071}"/>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52" name="Freeform 329">
                  <a:extLst>
                    <a:ext uri="{FF2B5EF4-FFF2-40B4-BE49-F238E27FC236}">
                      <a16:creationId xmlns:a16="http://schemas.microsoft.com/office/drawing/2014/main" id="{32775C4D-CC61-05FE-2789-4C04FE648306}"/>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53" name="Freeform 330">
                  <a:extLst>
                    <a:ext uri="{FF2B5EF4-FFF2-40B4-BE49-F238E27FC236}">
                      <a16:creationId xmlns:a16="http://schemas.microsoft.com/office/drawing/2014/main" id="{EBD0A1CF-7B2C-24C0-BB71-FBC78F83D5DC}"/>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47" name="Group 246">
                <a:extLst>
                  <a:ext uri="{FF2B5EF4-FFF2-40B4-BE49-F238E27FC236}">
                    <a16:creationId xmlns:a16="http://schemas.microsoft.com/office/drawing/2014/main" id="{D5974616-8141-676A-252C-349D81B06E5C}"/>
                  </a:ext>
                </a:extLst>
              </p:cNvPr>
              <p:cNvGrpSpPr/>
              <p:nvPr/>
            </p:nvGrpSpPr>
            <p:grpSpPr>
              <a:xfrm>
                <a:off x="2497606" y="2057040"/>
                <a:ext cx="343563" cy="345579"/>
                <a:chOff x="4983693" y="1073777"/>
                <a:chExt cx="368029" cy="370189"/>
              </a:xfrm>
            </p:grpSpPr>
            <p:sp>
              <p:nvSpPr>
                <p:cNvPr id="248" name="Freeform 326">
                  <a:extLst>
                    <a:ext uri="{FF2B5EF4-FFF2-40B4-BE49-F238E27FC236}">
                      <a16:creationId xmlns:a16="http://schemas.microsoft.com/office/drawing/2014/main" id="{729154BD-DC30-F7A3-BFB8-E80777985B07}"/>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49" name="Freeform 329">
                  <a:extLst>
                    <a:ext uri="{FF2B5EF4-FFF2-40B4-BE49-F238E27FC236}">
                      <a16:creationId xmlns:a16="http://schemas.microsoft.com/office/drawing/2014/main" id="{15007BB6-F5EB-71A3-7DDB-F02C7C32A030}"/>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50" name="Freeform 330">
                  <a:extLst>
                    <a:ext uri="{FF2B5EF4-FFF2-40B4-BE49-F238E27FC236}">
                      <a16:creationId xmlns:a16="http://schemas.microsoft.com/office/drawing/2014/main" id="{59B72BAD-9865-5F9B-AB1E-45014573AD91}"/>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nvGrpSpPr>
            <p:cNvPr id="219" name="Group 218">
              <a:extLst>
                <a:ext uri="{FF2B5EF4-FFF2-40B4-BE49-F238E27FC236}">
                  <a16:creationId xmlns:a16="http://schemas.microsoft.com/office/drawing/2014/main" id="{D17D6197-BA7C-341A-B40E-D58A31D7384A}"/>
                </a:ext>
              </a:extLst>
            </p:cNvPr>
            <p:cNvGrpSpPr/>
            <p:nvPr/>
          </p:nvGrpSpPr>
          <p:grpSpPr>
            <a:xfrm>
              <a:off x="1667295" y="2493857"/>
              <a:ext cx="1047752" cy="345579"/>
              <a:chOff x="1793417" y="2057040"/>
              <a:chExt cx="1047752" cy="345579"/>
            </a:xfrm>
          </p:grpSpPr>
          <p:grpSp>
            <p:nvGrpSpPr>
              <p:cNvPr id="233" name="Group 232">
                <a:extLst>
                  <a:ext uri="{FF2B5EF4-FFF2-40B4-BE49-F238E27FC236}">
                    <a16:creationId xmlns:a16="http://schemas.microsoft.com/office/drawing/2014/main" id="{0D8A2C50-0F22-35BB-5B1C-CA5FD7DBAC36}"/>
                  </a:ext>
                </a:extLst>
              </p:cNvPr>
              <p:cNvGrpSpPr/>
              <p:nvPr/>
            </p:nvGrpSpPr>
            <p:grpSpPr>
              <a:xfrm>
                <a:off x="1793417" y="2057040"/>
                <a:ext cx="343563" cy="345579"/>
                <a:chOff x="4983693" y="1073777"/>
                <a:chExt cx="368029" cy="370189"/>
              </a:xfrm>
            </p:grpSpPr>
            <p:sp>
              <p:nvSpPr>
                <p:cNvPr id="242" name="Freeform 326">
                  <a:extLst>
                    <a:ext uri="{FF2B5EF4-FFF2-40B4-BE49-F238E27FC236}">
                      <a16:creationId xmlns:a16="http://schemas.microsoft.com/office/drawing/2014/main" id="{3DC7DB99-20EC-44CA-5C93-AF870DF3D5BD}"/>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43" name="Freeform 329">
                  <a:extLst>
                    <a:ext uri="{FF2B5EF4-FFF2-40B4-BE49-F238E27FC236}">
                      <a16:creationId xmlns:a16="http://schemas.microsoft.com/office/drawing/2014/main" id="{066ADBE9-8731-6622-0E65-F0F9E1599659}"/>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44" name="Freeform 330">
                  <a:extLst>
                    <a:ext uri="{FF2B5EF4-FFF2-40B4-BE49-F238E27FC236}">
                      <a16:creationId xmlns:a16="http://schemas.microsoft.com/office/drawing/2014/main" id="{2BD81054-4B32-12AE-8E0F-1B7ACDC85DB4}"/>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34" name="Group 233">
                <a:extLst>
                  <a:ext uri="{FF2B5EF4-FFF2-40B4-BE49-F238E27FC236}">
                    <a16:creationId xmlns:a16="http://schemas.microsoft.com/office/drawing/2014/main" id="{77E67B7E-40E7-E900-A0AA-031F7EF5B6DF}"/>
                  </a:ext>
                </a:extLst>
              </p:cNvPr>
              <p:cNvGrpSpPr/>
              <p:nvPr/>
            </p:nvGrpSpPr>
            <p:grpSpPr>
              <a:xfrm>
                <a:off x="2145511" y="2057040"/>
                <a:ext cx="343563" cy="345579"/>
                <a:chOff x="4983693" y="1073777"/>
                <a:chExt cx="368029" cy="370189"/>
              </a:xfrm>
            </p:grpSpPr>
            <p:sp>
              <p:nvSpPr>
                <p:cNvPr id="239" name="Freeform 326">
                  <a:extLst>
                    <a:ext uri="{FF2B5EF4-FFF2-40B4-BE49-F238E27FC236}">
                      <a16:creationId xmlns:a16="http://schemas.microsoft.com/office/drawing/2014/main" id="{7F40B926-D5C2-A57C-398E-0548908A88E3}"/>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40" name="Freeform 329">
                  <a:extLst>
                    <a:ext uri="{FF2B5EF4-FFF2-40B4-BE49-F238E27FC236}">
                      <a16:creationId xmlns:a16="http://schemas.microsoft.com/office/drawing/2014/main" id="{8D9DEE7E-2D06-A494-8D98-DBD018713588}"/>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41" name="Freeform 330">
                  <a:extLst>
                    <a:ext uri="{FF2B5EF4-FFF2-40B4-BE49-F238E27FC236}">
                      <a16:creationId xmlns:a16="http://schemas.microsoft.com/office/drawing/2014/main" id="{5F27C800-12CA-02F2-5DDB-34DF19FAF2D8}"/>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35" name="Group 234">
                <a:extLst>
                  <a:ext uri="{FF2B5EF4-FFF2-40B4-BE49-F238E27FC236}">
                    <a16:creationId xmlns:a16="http://schemas.microsoft.com/office/drawing/2014/main" id="{825B4485-510D-E224-9002-B2C7A90D561C}"/>
                  </a:ext>
                </a:extLst>
              </p:cNvPr>
              <p:cNvGrpSpPr/>
              <p:nvPr/>
            </p:nvGrpSpPr>
            <p:grpSpPr>
              <a:xfrm>
                <a:off x="2497606" y="2057040"/>
                <a:ext cx="343563" cy="345579"/>
                <a:chOff x="4983693" y="1073777"/>
                <a:chExt cx="368029" cy="370189"/>
              </a:xfrm>
            </p:grpSpPr>
            <p:sp>
              <p:nvSpPr>
                <p:cNvPr id="236" name="Freeform 326">
                  <a:extLst>
                    <a:ext uri="{FF2B5EF4-FFF2-40B4-BE49-F238E27FC236}">
                      <a16:creationId xmlns:a16="http://schemas.microsoft.com/office/drawing/2014/main" id="{3218F737-83EC-2349-53C5-BC41EA575D77}"/>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37" name="Freeform 329">
                  <a:extLst>
                    <a:ext uri="{FF2B5EF4-FFF2-40B4-BE49-F238E27FC236}">
                      <a16:creationId xmlns:a16="http://schemas.microsoft.com/office/drawing/2014/main" id="{5DCB8A5F-C551-D6DD-C4CA-E0CBBF305F65}"/>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38" name="Freeform 330">
                  <a:extLst>
                    <a:ext uri="{FF2B5EF4-FFF2-40B4-BE49-F238E27FC236}">
                      <a16:creationId xmlns:a16="http://schemas.microsoft.com/office/drawing/2014/main" id="{9E401185-1B00-5322-8558-DC691EEB478E}"/>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nvGrpSpPr>
            <p:cNvPr id="220" name="Group 219">
              <a:extLst>
                <a:ext uri="{FF2B5EF4-FFF2-40B4-BE49-F238E27FC236}">
                  <a16:creationId xmlns:a16="http://schemas.microsoft.com/office/drawing/2014/main" id="{D66E9912-04F5-0674-6BFE-73F2DBC83958}"/>
                </a:ext>
              </a:extLst>
            </p:cNvPr>
            <p:cNvGrpSpPr/>
            <p:nvPr/>
          </p:nvGrpSpPr>
          <p:grpSpPr>
            <a:xfrm>
              <a:off x="1678981" y="2920576"/>
              <a:ext cx="1047752" cy="345579"/>
              <a:chOff x="1793417" y="2057040"/>
              <a:chExt cx="1047752" cy="345579"/>
            </a:xfrm>
          </p:grpSpPr>
          <p:grpSp>
            <p:nvGrpSpPr>
              <p:cNvPr id="221" name="Group 220">
                <a:extLst>
                  <a:ext uri="{FF2B5EF4-FFF2-40B4-BE49-F238E27FC236}">
                    <a16:creationId xmlns:a16="http://schemas.microsoft.com/office/drawing/2014/main" id="{077C5A52-BCDC-68C3-4568-9F61B5AA6563}"/>
                  </a:ext>
                </a:extLst>
              </p:cNvPr>
              <p:cNvGrpSpPr/>
              <p:nvPr/>
            </p:nvGrpSpPr>
            <p:grpSpPr>
              <a:xfrm>
                <a:off x="1793417" y="2057040"/>
                <a:ext cx="343563" cy="345579"/>
                <a:chOff x="4983693" y="1073777"/>
                <a:chExt cx="368029" cy="370189"/>
              </a:xfrm>
            </p:grpSpPr>
            <p:sp>
              <p:nvSpPr>
                <p:cNvPr id="230" name="Freeform 326">
                  <a:extLst>
                    <a:ext uri="{FF2B5EF4-FFF2-40B4-BE49-F238E27FC236}">
                      <a16:creationId xmlns:a16="http://schemas.microsoft.com/office/drawing/2014/main" id="{D495F040-A142-151D-8EAB-997FCCCF565A}"/>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31" name="Freeform 329">
                  <a:extLst>
                    <a:ext uri="{FF2B5EF4-FFF2-40B4-BE49-F238E27FC236}">
                      <a16:creationId xmlns:a16="http://schemas.microsoft.com/office/drawing/2014/main" id="{A209A08C-1986-28A0-3457-4A9524E472FF}"/>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32" name="Freeform 330">
                  <a:extLst>
                    <a:ext uri="{FF2B5EF4-FFF2-40B4-BE49-F238E27FC236}">
                      <a16:creationId xmlns:a16="http://schemas.microsoft.com/office/drawing/2014/main" id="{61562A4D-3609-1803-CDDD-545D2C110B75}"/>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22" name="Group 221">
                <a:extLst>
                  <a:ext uri="{FF2B5EF4-FFF2-40B4-BE49-F238E27FC236}">
                    <a16:creationId xmlns:a16="http://schemas.microsoft.com/office/drawing/2014/main" id="{BF4FD0C2-443E-8F0A-2B01-7FB3570905FF}"/>
                  </a:ext>
                </a:extLst>
              </p:cNvPr>
              <p:cNvGrpSpPr/>
              <p:nvPr/>
            </p:nvGrpSpPr>
            <p:grpSpPr>
              <a:xfrm>
                <a:off x="2145511" y="2057040"/>
                <a:ext cx="343563" cy="345579"/>
                <a:chOff x="4983693" y="1073777"/>
                <a:chExt cx="368029" cy="370189"/>
              </a:xfrm>
            </p:grpSpPr>
            <p:sp>
              <p:nvSpPr>
                <p:cNvPr id="227" name="Freeform 326">
                  <a:extLst>
                    <a:ext uri="{FF2B5EF4-FFF2-40B4-BE49-F238E27FC236}">
                      <a16:creationId xmlns:a16="http://schemas.microsoft.com/office/drawing/2014/main" id="{60ADA453-AD3A-1CC4-8D97-FF40345057AD}"/>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28" name="Freeform 329">
                  <a:extLst>
                    <a:ext uri="{FF2B5EF4-FFF2-40B4-BE49-F238E27FC236}">
                      <a16:creationId xmlns:a16="http://schemas.microsoft.com/office/drawing/2014/main" id="{1D34FEB9-19F6-5A54-D9DA-F472BBC750A2}"/>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29" name="Freeform 330">
                  <a:extLst>
                    <a:ext uri="{FF2B5EF4-FFF2-40B4-BE49-F238E27FC236}">
                      <a16:creationId xmlns:a16="http://schemas.microsoft.com/office/drawing/2014/main" id="{B4916EA1-697F-48EB-CDF4-B8C6C42C56DA}"/>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23" name="Group 222">
                <a:extLst>
                  <a:ext uri="{FF2B5EF4-FFF2-40B4-BE49-F238E27FC236}">
                    <a16:creationId xmlns:a16="http://schemas.microsoft.com/office/drawing/2014/main" id="{66805385-FA38-C048-A7DC-7936C81F76FC}"/>
                  </a:ext>
                </a:extLst>
              </p:cNvPr>
              <p:cNvGrpSpPr/>
              <p:nvPr/>
            </p:nvGrpSpPr>
            <p:grpSpPr>
              <a:xfrm>
                <a:off x="2497606" y="2057040"/>
                <a:ext cx="343563" cy="345579"/>
                <a:chOff x="4983693" y="1073777"/>
                <a:chExt cx="368029" cy="370189"/>
              </a:xfrm>
            </p:grpSpPr>
            <p:sp>
              <p:nvSpPr>
                <p:cNvPr id="224" name="Freeform 326">
                  <a:extLst>
                    <a:ext uri="{FF2B5EF4-FFF2-40B4-BE49-F238E27FC236}">
                      <a16:creationId xmlns:a16="http://schemas.microsoft.com/office/drawing/2014/main" id="{68B1D33D-320A-7678-8CD8-292448C0CC23}"/>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25" name="Freeform 329">
                  <a:extLst>
                    <a:ext uri="{FF2B5EF4-FFF2-40B4-BE49-F238E27FC236}">
                      <a16:creationId xmlns:a16="http://schemas.microsoft.com/office/drawing/2014/main" id="{EF81E1B1-C858-3DFC-B985-6A979E9B9A70}"/>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26" name="Freeform 330">
                  <a:extLst>
                    <a:ext uri="{FF2B5EF4-FFF2-40B4-BE49-F238E27FC236}">
                      <a16:creationId xmlns:a16="http://schemas.microsoft.com/office/drawing/2014/main" id="{0D05629B-9147-84AD-2CFA-CBFFC601C611}"/>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grpSp>
        <p:nvGrpSpPr>
          <p:cNvPr id="417" name="Group 416">
            <a:extLst>
              <a:ext uri="{FF2B5EF4-FFF2-40B4-BE49-F238E27FC236}">
                <a16:creationId xmlns:a16="http://schemas.microsoft.com/office/drawing/2014/main" id="{0350DCD4-3283-93EF-5A49-43D45B19C1A7}"/>
              </a:ext>
            </a:extLst>
          </p:cNvPr>
          <p:cNvGrpSpPr/>
          <p:nvPr/>
        </p:nvGrpSpPr>
        <p:grpSpPr>
          <a:xfrm>
            <a:off x="5930054" y="1863041"/>
            <a:ext cx="1260000" cy="1563543"/>
            <a:chOff x="5888014" y="1863041"/>
            <a:chExt cx="1260000" cy="1563543"/>
          </a:xfrm>
        </p:grpSpPr>
        <p:sp>
          <p:nvSpPr>
            <p:cNvPr id="77" name="Rectangle: Rounded Corners 76">
              <a:extLst>
                <a:ext uri="{FF2B5EF4-FFF2-40B4-BE49-F238E27FC236}">
                  <a16:creationId xmlns:a16="http://schemas.microsoft.com/office/drawing/2014/main" id="{F4517F0A-196D-DCF4-BE50-36316E5FF5E8}"/>
                </a:ext>
              </a:extLst>
            </p:cNvPr>
            <p:cNvSpPr/>
            <p:nvPr/>
          </p:nvSpPr>
          <p:spPr>
            <a:xfrm>
              <a:off x="5888014" y="1863041"/>
              <a:ext cx="1260000" cy="156354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err="1"/>
            </a:p>
          </p:txBody>
        </p:sp>
        <p:grpSp>
          <p:nvGrpSpPr>
            <p:cNvPr id="257" name="Group 256">
              <a:extLst>
                <a:ext uri="{FF2B5EF4-FFF2-40B4-BE49-F238E27FC236}">
                  <a16:creationId xmlns:a16="http://schemas.microsoft.com/office/drawing/2014/main" id="{C6EBBF65-F45F-9CA5-0B52-D7825700E0B5}"/>
                </a:ext>
              </a:extLst>
            </p:cNvPr>
            <p:cNvGrpSpPr/>
            <p:nvPr/>
          </p:nvGrpSpPr>
          <p:grpSpPr>
            <a:xfrm>
              <a:off x="5988295" y="2069886"/>
              <a:ext cx="1059438" cy="1209115"/>
              <a:chOff x="1667295" y="2057040"/>
              <a:chExt cx="1059438" cy="1209115"/>
            </a:xfrm>
          </p:grpSpPr>
          <p:grpSp>
            <p:nvGrpSpPr>
              <p:cNvPr id="258" name="Group 257">
                <a:extLst>
                  <a:ext uri="{FF2B5EF4-FFF2-40B4-BE49-F238E27FC236}">
                    <a16:creationId xmlns:a16="http://schemas.microsoft.com/office/drawing/2014/main" id="{D94D403C-BFE2-6543-7604-BFEE6BD940D3}"/>
                  </a:ext>
                </a:extLst>
              </p:cNvPr>
              <p:cNvGrpSpPr/>
              <p:nvPr/>
            </p:nvGrpSpPr>
            <p:grpSpPr>
              <a:xfrm>
                <a:off x="1667295" y="2057040"/>
                <a:ext cx="1047752" cy="345579"/>
                <a:chOff x="1793417" y="2057040"/>
                <a:chExt cx="1047752" cy="345579"/>
              </a:xfrm>
            </p:grpSpPr>
            <p:grpSp>
              <p:nvGrpSpPr>
                <p:cNvPr id="285" name="Group 284">
                  <a:extLst>
                    <a:ext uri="{FF2B5EF4-FFF2-40B4-BE49-F238E27FC236}">
                      <a16:creationId xmlns:a16="http://schemas.microsoft.com/office/drawing/2014/main" id="{4E653907-8867-F5D8-FBCE-56B9D2C5B8FE}"/>
                    </a:ext>
                  </a:extLst>
                </p:cNvPr>
                <p:cNvGrpSpPr/>
                <p:nvPr/>
              </p:nvGrpSpPr>
              <p:grpSpPr>
                <a:xfrm>
                  <a:off x="1793417" y="2057040"/>
                  <a:ext cx="343563" cy="345579"/>
                  <a:chOff x="4983693" y="1073777"/>
                  <a:chExt cx="368029" cy="370189"/>
                </a:xfrm>
              </p:grpSpPr>
              <p:sp>
                <p:nvSpPr>
                  <p:cNvPr id="294" name="Freeform 326">
                    <a:extLst>
                      <a:ext uri="{FF2B5EF4-FFF2-40B4-BE49-F238E27FC236}">
                        <a16:creationId xmlns:a16="http://schemas.microsoft.com/office/drawing/2014/main" id="{DA5D2C09-9B1B-5220-51A7-99413A94520F}"/>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95" name="Freeform 329">
                    <a:extLst>
                      <a:ext uri="{FF2B5EF4-FFF2-40B4-BE49-F238E27FC236}">
                        <a16:creationId xmlns:a16="http://schemas.microsoft.com/office/drawing/2014/main" id="{72B83905-9AE2-B268-E62A-BF3F8ED80C30}"/>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96" name="Freeform 330">
                    <a:extLst>
                      <a:ext uri="{FF2B5EF4-FFF2-40B4-BE49-F238E27FC236}">
                        <a16:creationId xmlns:a16="http://schemas.microsoft.com/office/drawing/2014/main" id="{E251AA71-5F05-304C-DB32-956FC0CAF091}"/>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86" name="Group 285">
                  <a:extLst>
                    <a:ext uri="{FF2B5EF4-FFF2-40B4-BE49-F238E27FC236}">
                      <a16:creationId xmlns:a16="http://schemas.microsoft.com/office/drawing/2014/main" id="{E3DAC8A2-7096-3BD6-4DED-0FC2B108F52B}"/>
                    </a:ext>
                  </a:extLst>
                </p:cNvPr>
                <p:cNvGrpSpPr/>
                <p:nvPr/>
              </p:nvGrpSpPr>
              <p:grpSpPr>
                <a:xfrm>
                  <a:off x="2145511" y="2057040"/>
                  <a:ext cx="343563" cy="345579"/>
                  <a:chOff x="4983693" y="1073777"/>
                  <a:chExt cx="368029" cy="370189"/>
                </a:xfrm>
              </p:grpSpPr>
              <p:sp>
                <p:nvSpPr>
                  <p:cNvPr id="291" name="Freeform 326">
                    <a:extLst>
                      <a:ext uri="{FF2B5EF4-FFF2-40B4-BE49-F238E27FC236}">
                        <a16:creationId xmlns:a16="http://schemas.microsoft.com/office/drawing/2014/main" id="{00FE357E-2335-0354-919C-A3B6E64732AF}"/>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92" name="Freeform 329">
                    <a:extLst>
                      <a:ext uri="{FF2B5EF4-FFF2-40B4-BE49-F238E27FC236}">
                        <a16:creationId xmlns:a16="http://schemas.microsoft.com/office/drawing/2014/main" id="{CD1C31AA-7542-725F-FD57-2B72A7DC8D82}"/>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93" name="Freeform 330">
                    <a:extLst>
                      <a:ext uri="{FF2B5EF4-FFF2-40B4-BE49-F238E27FC236}">
                        <a16:creationId xmlns:a16="http://schemas.microsoft.com/office/drawing/2014/main" id="{453D2A14-1D93-FCC4-BF81-EA631B975B15}"/>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87" name="Group 286">
                  <a:extLst>
                    <a:ext uri="{FF2B5EF4-FFF2-40B4-BE49-F238E27FC236}">
                      <a16:creationId xmlns:a16="http://schemas.microsoft.com/office/drawing/2014/main" id="{99ED3321-2542-A6E4-D3B1-DFC2631C9B04}"/>
                    </a:ext>
                  </a:extLst>
                </p:cNvPr>
                <p:cNvGrpSpPr/>
                <p:nvPr/>
              </p:nvGrpSpPr>
              <p:grpSpPr>
                <a:xfrm>
                  <a:off x="2497606" y="2057040"/>
                  <a:ext cx="343563" cy="345579"/>
                  <a:chOff x="4983693" y="1073777"/>
                  <a:chExt cx="368029" cy="370189"/>
                </a:xfrm>
              </p:grpSpPr>
              <p:sp>
                <p:nvSpPr>
                  <p:cNvPr id="288" name="Freeform 326">
                    <a:extLst>
                      <a:ext uri="{FF2B5EF4-FFF2-40B4-BE49-F238E27FC236}">
                        <a16:creationId xmlns:a16="http://schemas.microsoft.com/office/drawing/2014/main" id="{C86FAEC0-40B4-0D5E-35BB-826B5B9DA38B}"/>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89" name="Freeform 329">
                    <a:extLst>
                      <a:ext uri="{FF2B5EF4-FFF2-40B4-BE49-F238E27FC236}">
                        <a16:creationId xmlns:a16="http://schemas.microsoft.com/office/drawing/2014/main" id="{8B0E0B57-6EE5-E242-0B5B-EE5FCE028C10}"/>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90" name="Freeform 330">
                    <a:extLst>
                      <a:ext uri="{FF2B5EF4-FFF2-40B4-BE49-F238E27FC236}">
                        <a16:creationId xmlns:a16="http://schemas.microsoft.com/office/drawing/2014/main" id="{74468EBF-C367-6893-B8AF-211C354E90C8}"/>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nvGrpSpPr>
              <p:cNvPr id="259" name="Group 258">
                <a:extLst>
                  <a:ext uri="{FF2B5EF4-FFF2-40B4-BE49-F238E27FC236}">
                    <a16:creationId xmlns:a16="http://schemas.microsoft.com/office/drawing/2014/main" id="{2B680E5D-BD33-CF3D-8C3A-67511A5FAAC7}"/>
                  </a:ext>
                </a:extLst>
              </p:cNvPr>
              <p:cNvGrpSpPr/>
              <p:nvPr/>
            </p:nvGrpSpPr>
            <p:grpSpPr>
              <a:xfrm>
                <a:off x="1667295" y="2493857"/>
                <a:ext cx="1047752" cy="345579"/>
                <a:chOff x="1793417" y="2057040"/>
                <a:chExt cx="1047752" cy="345579"/>
              </a:xfrm>
            </p:grpSpPr>
            <p:grpSp>
              <p:nvGrpSpPr>
                <p:cNvPr id="273" name="Group 272">
                  <a:extLst>
                    <a:ext uri="{FF2B5EF4-FFF2-40B4-BE49-F238E27FC236}">
                      <a16:creationId xmlns:a16="http://schemas.microsoft.com/office/drawing/2014/main" id="{510AEE99-5870-DF72-42CB-5E673E1624B8}"/>
                    </a:ext>
                  </a:extLst>
                </p:cNvPr>
                <p:cNvGrpSpPr/>
                <p:nvPr/>
              </p:nvGrpSpPr>
              <p:grpSpPr>
                <a:xfrm>
                  <a:off x="1793417" y="2057040"/>
                  <a:ext cx="343563" cy="345579"/>
                  <a:chOff x="4983693" y="1073777"/>
                  <a:chExt cx="368029" cy="370189"/>
                </a:xfrm>
              </p:grpSpPr>
              <p:sp>
                <p:nvSpPr>
                  <p:cNvPr id="282" name="Freeform 326">
                    <a:extLst>
                      <a:ext uri="{FF2B5EF4-FFF2-40B4-BE49-F238E27FC236}">
                        <a16:creationId xmlns:a16="http://schemas.microsoft.com/office/drawing/2014/main" id="{6898EA34-2AEF-386D-4284-4BF9CE57E14C}"/>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83" name="Freeform 329">
                    <a:extLst>
                      <a:ext uri="{FF2B5EF4-FFF2-40B4-BE49-F238E27FC236}">
                        <a16:creationId xmlns:a16="http://schemas.microsoft.com/office/drawing/2014/main" id="{C846C238-A890-2385-2D34-3A831D7E6A23}"/>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84" name="Freeform 330">
                    <a:extLst>
                      <a:ext uri="{FF2B5EF4-FFF2-40B4-BE49-F238E27FC236}">
                        <a16:creationId xmlns:a16="http://schemas.microsoft.com/office/drawing/2014/main" id="{F0849535-5F6C-E062-BD9F-D9CF6BC32E53}"/>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74" name="Group 273">
                  <a:extLst>
                    <a:ext uri="{FF2B5EF4-FFF2-40B4-BE49-F238E27FC236}">
                      <a16:creationId xmlns:a16="http://schemas.microsoft.com/office/drawing/2014/main" id="{69E3DAEE-F9DB-94DF-0346-7B65C814C832}"/>
                    </a:ext>
                  </a:extLst>
                </p:cNvPr>
                <p:cNvGrpSpPr/>
                <p:nvPr/>
              </p:nvGrpSpPr>
              <p:grpSpPr>
                <a:xfrm>
                  <a:off x="2145511" y="2057040"/>
                  <a:ext cx="343563" cy="345579"/>
                  <a:chOff x="4983693" y="1073777"/>
                  <a:chExt cx="368029" cy="370189"/>
                </a:xfrm>
              </p:grpSpPr>
              <p:sp>
                <p:nvSpPr>
                  <p:cNvPr id="279" name="Freeform 326">
                    <a:extLst>
                      <a:ext uri="{FF2B5EF4-FFF2-40B4-BE49-F238E27FC236}">
                        <a16:creationId xmlns:a16="http://schemas.microsoft.com/office/drawing/2014/main" id="{3915A870-EBAC-76FA-E5A3-822F8EE840DE}"/>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80" name="Freeform 329">
                    <a:extLst>
                      <a:ext uri="{FF2B5EF4-FFF2-40B4-BE49-F238E27FC236}">
                        <a16:creationId xmlns:a16="http://schemas.microsoft.com/office/drawing/2014/main" id="{F6642AAE-BDA3-4B49-334C-995FCBF7E65E}"/>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81" name="Freeform 330">
                    <a:extLst>
                      <a:ext uri="{FF2B5EF4-FFF2-40B4-BE49-F238E27FC236}">
                        <a16:creationId xmlns:a16="http://schemas.microsoft.com/office/drawing/2014/main" id="{079349FB-752C-A4A7-86C1-216958B9F973}"/>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75" name="Group 274">
                  <a:extLst>
                    <a:ext uri="{FF2B5EF4-FFF2-40B4-BE49-F238E27FC236}">
                      <a16:creationId xmlns:a16="http://schemas.microsoft.com/office/drawing/2014/main" id="{0CCD4802-92B3-CE57-B544-94530C4DB287}"/>
                    </a:ext>
                  </a:extLst>
                </p:cNvPr>
                <p:cNvGrpSpPr/>
                <p:nvPr/>
              </p:nvGrpSpPr>
              <p:grpSpPr>
                <a:xfrm>
                  <a:off x="2497606" y="2057040"/>
                  <a:ext cx="343563" cy="345579"/>
                  <a:chOff x="4983693" y="1073777"/>
                  <a:chExt cx="368029" cy="370189"/>
                </a:xfrm>
              </p:grpSpPr>
              <p:sp>
                <p:nvSpPr>
                  <p:cNvPr id="276" name="Freeform 326">
                    <a:extLst>
                      <a:ext uri="{FF2B5EF4-FFF2-40B4-BE49-F238E27FC236}">
                        <a16:creationId xmlns:a16="http://schemas.microsoft.com/office/drawing/2014/main" id="{E65FD1D9-D0BE-C7AE-8CB9-0D9E904856A2}"/>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77" name="Freeform 329">
                    <a:extLst>
                      <a:ext uri="{FF2B5EF4-FFF2-40B4-BE49-F238E27FC236}">
                        <a16:creationId xmlns:a16="http://schemas.microsoft.com/office/drawing/2014/main" id="{F6226FA2-60CE-0F3E-5BC6-F4485FF0E619}"/>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78" name="Freeform 330">
                    <a:extLst>
                      <a:ext uri="{FF2B5EF4-FFF2-40B4-BE49-F238E27FC236}">
                        <a16:creationId xmlns:a16="http://schemas.microsoft.com/office/drawing/2014/main" id="{4822165F-B39F-894E-F681-DD98F43478A7}"/>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nvGrpSpPr>
              <p:cNvPr id="260" name="Group 259">
                <a:extLst>
                  <a:ext uri="{FF2B5EF4-FFF2-40B4-BE49-F238E27FC236}">
                    <a16:creationId xmlns:a16="http://schemas.microsoft.com/office/drawing/2014/main" id="{939F1D41-6DF5-3E12-C62F-86AB8EC7EBA9}"/>
                  </a:ext>
                </a:extLst>
              </p:cNvPr>
              <p:cNvGrpSpPr/>
              <p:nvPr/>
            </p:nvGrpSpPr>
            <p:grpSpPr>
              <a:xfrm>
                <a:off x="1678981" y="2920576"/>
                <a:ext cx="1047752" cy="345579"/>
                <a:chOff x="1793417" y="2057040"/>
                <a:chExt cx="1047752" cy="345579"/>
              </a:xfrm>
            </p:grpSpPr>
            <p:grpSp>
              <p:nvGrpSpPr>
                <p:cNvPr id="261" name="Group 260">
                  <a:extLst>
                    <a:ext uri="{FF2B5EF4-FFF2-40B4-BE49-F238E27FC236}">
                      <a16:creationId xmlns:a16="http://schemas.microsoft.com/office/drawing/2014/main" id="{D37D1359-7FE4-74A4-B401-6484F2E63C86}"/>
                    </a:ext>
                  </a:extLst>
                </p:cNvPr>
                <p:cNvGrpSpPr/>
                <p:nvPr/>
              </p:nvGrpSpPr>
              <p:grpSpPr>
                <a:xfrm>
                  <a:off x="1793417" y="2057040"/>
                  <a:ext cx="343563" cy="345579"/>
                  <a:chOff x="4983693" y="1073777"/>
                  <a:chExt cx="368029" cy="370189"/>
                </a:xfrm>
              </p:grpSpPr>
              <p:sp>
                <p:nvSpPr>
                  <p:cNvPr id="270" name="Freeform 326">
                    <a:extLst>
                      <a:ext uri="{FF2B5EF4-FFF2-40B4-BE49-F238E27FC236}">
                        <a16:creationId xmlns:a16="http://schemas.microsoft.com/office/drawing/2014/main" id="{19C74EF3-AE27-BB4E-7B30-281B6FA9A557}"/>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71" name="Freeform 329">
                    <a:extLst>
                      <a:ext uri="{FF2B5EF4-FFF2-40B4-BE49-F238E27FC236}">
                        <a16:creationId xmlns:a16="http://schemas.microsoft.com/office/drawing/2014/main" id="{9759DB15-D1F2-E2E4-3C29-B3A96A9B1A89}"/>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72" name="Freeform 330">
                    <a:extLst>
                      <a:ext uri="{FF2B5EF4-FFF2-40B4-BE49-F238E27FC236}">
                        <a16:creationId xmlns:a16="http://schemas.microsoft.com/office/drawing/2014/main" id="{B2CF729C-17A1-D827-EA31-2241A7CED3BA}"/>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62" name="Group 261">
                  <a:extLst>
                    <a:ext uri="{FF2B5EF4-FFF2-40B4-BE49-F238E27FC236}">
                      <a16:creationId xmlns:a16="http://schemas.microsoft.com/office/drawing/2014/main" id="{0E918675-0778-B6E1-3D48-ACDBE42F4390}"/>
                    </a:ext>
                  </a:extLst>
                </p:cNvPr>
                <p:cNvGrpSpPr/>
                <p:nvPr/>
              </p:nvGrpSpPr>
              <p:grpSpPr>
                <a:xfrm>
                  <a:off x="2145511" y="2057040"/>
                  <a:ext cx="343563" cy="345579"/>
                  <a:chOff x="4983693" y="1073777"/>
                  <a:chExt cx="368029" cy="370189"/>
                </a:xfrm>
              </p:grpSpPr>
              <p:sp>
                <p:nvSpPr>
                  <p:cNvPr id="267" name="Freeform 326">
                    <a:extLst>
                      <a:ext uri="{FF2B5EF4-FFF2-40B4-BE49-F238E27FC236}">
                        <a16:creationId xmlns:a16="http://schemas.microsoft.com/office/drawing/2014/main" id="{0B2D99AD-F4EA-D85B-F670-56FF7168E6B6}"/>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68" name="Freeform 329">
                    <a:extLst>
                      <a:ext uri="{FF2B5EF4-FFF2-40B4-BE49-F238E27FC236}">
                        <a16:creationId xmlns:a16="http://schemas.microsoft.com/office/drawing/2014/main" id="{3A761F74-4DC0-5AD3-3366-A24C18A49E08}"/>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69" name="Freeform 330">
                    <a:extLst>
                      <a:ext uri="{FF2B5EF4-FFF2-40B4-BE49-F238E27FC236}">
                        <a16:creationId xmlns:a16="http://schemas.microsoft.com/office/drawing/2014/main" id="{96A8A2E7-C0E8-6AA4-F8C9-C0027AA9BEAD}"/>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263" name="Group 262">
                  <a:extLst>
                    <a:ext uri="{FF2B5EF4-FFF2-40B4-BE49-F238E27FC236}">
                      <a16:creationId xmlns:a16="http://schemas.microsoft.com/office/drawing/2014/main" id="{5E0BEBFF-1E04-2711-C023-00FF9BBBBD23}"/>
                    </a:ext>
                  </a:extLst>
                </p:cNvPr>
                <p:cNvGrpSpPr/>
                <p:nvPr/>
              </p:nvGrpSpPr>
              <p:grpSpPr>
                <a:xfrm>
                  <a:off x="2497606" y="2057040"/>
                  <a:ext cx="343563" cy="345579"/>
                  <a:chOff x="4983693" y="1073777"/>
                  <a:chExt cx="368029" cy="370189"/>
                </a:xfrm>
              </p:grpSpPr>
              <p:sp>
                <p:nvSpPr>
                  <p:cNvPr id="264" name="Freeform 326">
                    <a:extLst>
                      <a:ext uri="{FF2B5EF4-FFF2-40B4-BE49-F238E27FC236}">
                        <a16:creationId xmlns:a16="http://schemas.microsoft.com/office/drawing/2014/main" id="{6CDB111B-E542-009A-B407-6CFE387E1E97}"/>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65" name="Freeform 329">
                    <a:extLst>
                      <a:ext uri="{FF2B5EF4-FFF2-40B4-BE49-F238E27FC236}">
                        <a16:creationId xmlns:a16="http://schemas.microsoft.com/office/drawing/2014/main" id="{4849B3BA-049E-F27F-F7ED-A26D367EE6D0}"/>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266" name="Freeform 330">
                    <a:extLst>
                      <a:ext uri="{FF2B5EF4-FFF2-40B4-BE49-F238E27FC236}">
                        <a16:creationId xmlns:a16="http://schemas.microsoft.com/office/drawing/2014/main" id="{43D507EA-E342-A174-0ED6-13E003BAA125}"/>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grpSp>
      <p:grpSp>
        <p:nvGrpSpPr>
          <p:cNvPr id="418" name="Group 417">
            <a:extLst>
              <a:ext uri="{FF2B5EF4-FFF2-40B4-BE49-F238E27FC236}">
                <a16:creationId xmlns:a16="http://schemas.microsoft.com/office/drawing/2014/main" id="{8BC09FC3-EAD7-18D7-7F05-8EA75B11806E}"/>
              </a:ext>
            </a:extLst>
          </p:cNvPr>
          <p:cNvGrpSpPr/>
          <p:nvPr/>
        </p:nvGrpSpPr>
        <p:grpSpPr>
          <a:xfrm>
            <a:off x="7395078" y="1863041"/>
            <a:ext cx="1260000" cy="1563543"/>
            <a:chOff x="7332018" y="1863041"/>
            <a:chExt cx="1260000" cy="1563543"/>
          </a:xfrm>
        </p:grpSpPr>
        <p:sp>
          <p:nvSpPr>
            <p:cNvPr id="78" name="Rectangle: Rounded Corners 77">
              <a:extLst>
                <a:ext uri="{FF2B5EF4-FFF2-40B4-BE49-F238E27FC236}">
                  <a16:creationId xmlns:a16="http://schemas.microsoft.com/office/drawing/2014/main" id="{FBC1C873-E0F1-EB9F-24FF-542333C0CDF8}"/>
                </a:ext>
              </a:extLst>
            </p:cNvPr>
            <p:cNvSpPr/>
            <p:nvPr/>
          </p:nvSpPr>
          <p:spPr>
            <a:xfrm>
              <a:off x="7332018" y="1863041"/>
              <a:ext cx="1260000" cy="156354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err="1"/>
            </a:p>
          </p:txBody>
        </p:sp>
        <p:grpSp>
          <p:nvGrpSpPr>
            <p:cNvPr id="297" name="Group 296">
              <a:extLst>
                <a:ext uri="{FF2B5EF4-FFF2-40B4-BE49-F238E27FC236}">
                  <a16:creationId xmlns:a16="http://schemas.microsoft.com/office/drawing/2014/main" id="{4EAA7536-E386-9074-ECC7-EE3A4D7846ED}"/>
                </a:ext>
              </a:extLst>
            </p:cNvPr>
            <p:cNvGrpSpPr/>
            <p:nvPr/>
          </p:nvGrpSpPr>
          <p:grpSpPr>
            <a:xfrm>
              <a:off x="7428839" y="2083317"/>
              <a:ext cx="1059438" cy="1209115"/>
              <a:chOff x="1667295" y="2057040"/>
              <a:chExt cx="1059438" cy="1209115"/>
            </a:xfrm>
          </p:grpSpPr>
          <p:grpSp>
            <p:nvGrpSpPr>
              <p:cNvPr id="298" name="Group 297">
                <a:extLst>
                  <a:ext uri="{FF2B5EF4-FFF2-40B4-BE49-F238E27FC236}">
                    <a16:creationId xmlns:a16="http://schemas.microsoft.com/office/drawing/2014/main" id="{025620F3-6CC3-09BE-0CAE-6376156DCA2C}"/>
                  </a:ext>
                </a:extLst>
              </p:cNvPr>
              <p:cNvGrpSpPr/>
              <p:nvPr/>
            </p:nvGrpSpPr>
            <p:grpSpPr>
              <a:xfrm>
                <a:off x="1667295" y="2057040"/>
                <a:ext cx="1047752" cy="345579"/>
                <a:chOff x="1793417" y="2057040"/>
                <a:chExt cx="1047752" cy="345579"/>
              </a:xfrm>
            </p:grpSpPr>
            <p:grpSp>
              <p:nvGrpSpPr>
                <p:cNvPr id="325" name="Group 324">
                  <a:extLst>
                    <a:ext uri="{FF2B5EF4-FFF2-40B4-BE49-F238E27FC236}">
                      <a16:creationId xmlns:a16="http://schemas.microsoft.com/office/drawing/2014/main" id="{2E3756BF-BBDC-53D2-4C16-B7A061FA6130}"/>
                    </a:ext>
                  </a:extLst>
                </p:cNvPr>
                <p:cNvGrpSpPr/>
                <p:nvPr/>
              </p:nvGrpSpPr>
              <p:grpSpPr>
                <a:xfrm>
                  <a:off x="1793417" y="2057040"/>
                  <a:ext cx="343563" cy="345579"/>
                  <a:chOff x="4983693" y="1073777"/>
                  <a:chExt cx="368029" cy="370189"/>
                </a:xfrm>
              </p:grpSpPr>
              <p:sp>
                <p:nvSpPr>
                  <p:cNvPr id="334" name="Freeform 326">
                    <a:extLst>
                      <a:ext uri="{FF2B5EF4-FFF2-40B4-BE49-F238E27FC236}">
                        <a16:creationId xmlns:a16="http://schemas.microsoft.com/office/drawing/2014/main" id="{47C25462-97CC-AC7B-F6C5-AFF4AB8A37FF}"/>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35" name="Freeform 329">
                    <a:extLst>
                      <a:ext uri="{FF2B5EF4-FFF2-40B4-BE49-F238E27FC236}">
                        <a16:creationId xmlns:a16="http://schemas.microsoft.com/office/drawing/2014/main" id="{BCB406D3-59F5-1501-36A9-2A0D5052642D}"/>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36" name="Freeform 330">
                    <a:extLst>
                      <a:ext uri="{FF2B5EF4-FFF2-40B4-BE49-F238E27FC236}">
                        <a16:creationId xmlns:a16="http://schemas.microsoft.com/office/drawing/2014/main" id="{AA8935B6-B44E-0BF9-5278-C971FC0BB69E}"/>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326" name="Group 325">
                  <a:extLst>
                    <a:ext uri="{FF2B5EF4-FFF2-40B4-BE49-F238E27FC236}">
                      <a16:creationId xmlns:a16="http://schemas.microsoft.com/office/drawing/2014/main" id="{E83E7318-E7DD-60B6-8D60-11A9B07FAA3C}"/>
                    </a:ext>
                  </a:extLst>
                </p:cNvPr>
                <p:cNvGrpSpPr/>
                <p:nvPr/>
              </p:nvGrpSpPr>
              <p:grpSpPr>
                <a:xfrm>
                  <a:off x="2145511" y="2057040"/>
                  <a:ext cx="343563" cy="345579"/>
                  <a:chOff x="4983693" y="1073777"/>
                  <a:chExt cx="368029" cy="370189"/>
                </a:xfrm>
              </p:grpSpPr>
              <p:sp>
                <p:nvSpPr>
                  <p:cNvPr id="331" name="Freeform 326">
                    <a:extLst>
                      <a:ext uri="{FF2B5EF4-FFF2-40B4-BE49-F238E27FC236}">
                        <a16:creationId xmlns:a16="http://schemas.microsoft.com/office/drawing/2014/main" id="{A8074479-3BD6-8DEC-9CD9-B7C5E0BC5CC0}"/>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32" name="Freeform 329">
                    <a:extLst>
                      <a:ext uri="{FF2B5EF4-FFF2-40B4-BE49-F238E27FC236}">
                        <a16:creationId xmlns:a16="http://schemas.microsoft.com/office/drawing/2014/main" id="{EA91044F-4126-7EF1-ACE8-7E7DD3CAA867}"/>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33" name="Freeform 330">
                    <a:extLst>
                      <a:ext uri="{FF2B5EF4-FFF2-40B4-BE49-F238E27FC236}">
                        <a16:creationId xmlns:a16="http://schemas.microsoft.com/office/drawing/2014/main" id="{6F28A3FA-D9AA-3F8D-1713-D1BFE7D75DA6}"/>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327" name="Group 326">
                  <a:extLst>
                    <a:ext uri="{FF2B5EF4-FFF2-40B4-BE49-F238E27FC236}">
                      <a16:creationId xmlns:a16="http://schemas.microsoft.com/office/drawing/2014/main" id="{9F470B38-0C23-A9C5-F945-916BDBBF49EF}"/>
                    </a:ext>
                  </a:extLst>
                </p:cNvPr>
                <p:cNvGrpSpPr/>
                <p:nvPr/>
              </p:nvGrpSpPr>
              <p:grpSpPr>
                <a:xfrm>
                  <a:off x="2497606" y="2057040"/>
                  <a:ext cx="343563" cy="345579"/>
                  <a:chOff x="4983693" y="1073777"/>
                  <a:chExt cx="368029" cy="370189"/>
                </a:xfrm>
              </p:grpSpPr>
              <p:sp>
                <p:nvSpPr>
                  <p:cNvPr id="328" name="Freeform 326">
                    <a:extLst>
                      <a:ext uri="{FF2B5EF4-FFF2-40B4-BE49-F238E27FC236}">
                        <a16:creationId xmlns:a16="http://schemas.microsoft.com/office/drawing/2014/main" id="{7F4FE0D7-4C0A-4A31-0725-3B92384C1A8A}"/>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29" name="Freeform 329">
                    <a:extLst>
                      <a:ext uri="{FF2B5EF4-FFF2-40B4-BE49-F238E27FC236}">
                        <a16:creationId xmlns:a16="http://schemas.microsoft.com/office/drawing/2014/main" id="{352C0960-474B-5EE1-27ED-967CB9813763}"/>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30" name="Freeform 330">
                    <a:extLst>
                      <a:ext uri="{FF2B5EF4-FFF2-40B4-BE49-F238E27FC236}">
                        <a16:creationId xmlns:a16="http://schemas.microsoft.com/office/drawing/2014/main" id="{3299C2CD-23B1-8465-7338-A88DE3E9FB25}"/>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nvGrpSpPr>
              <p:cNvPr id="299" name="Group 298">
                <a:extLst>
                  <a:ext uri="{FF2B5EF4-FFF2-40B4-BE49-F238E27FC236}">
                    <a16:creationId xmlns:a16="http://schemas.microsoft.com/office/drawing/2014/main" id="{B06B5FCD-A5C6-F2F3-561A-7559D1DD8C6A}"/>
                  </a:ext>
                </a:extLst>
              </p:cNvPr>
              <p:cNvGrpSpPr/>
              <p:nvPr/>
            </p:nvGrpSpPr>
            <p:grpSpPr>
              <a:xfrm>
                <a:off x="1667295" y="2493857"/>
                <a:ext cx="1047752" cy="345579"/>
                <a:chOff x="1793417" y="2057040"/>
                <a:chExt cx="1047752" cy="345579"/>
              </a:xfrm>
            </p:grpSpPr>
            <p:grpSp>
              <p:nvGrpSpPr>
                <p:cNvPr id="313" name="Group 312">
                  <a:extLst>
                    <a:ext uri="{FF2B5EF4-FFF2-40B4-BE49-F238E27FC236}">
                      <a16:creationId xmlns:a16="http://schemas.microsoft.com/office/drawing/2014/main" id="{86B4D81D-DC2E-4BE1-82C3-55B77EBC36D0}"/>
                    </a:ext>
                  </a:extLst>
                </p:cNvPr>
                <p:cNvGrpSpPr/>
                <p:nvPr/>
              </p:nvGrpSpPr>
              <p:grpSpPr>
                <a:xfrm>
                  <a:off x="1793417" y="2057040"/>
                  <a:ext cx="343563" cy="345579"/>
                  <a:chOff x="4983693" y="1073777"/>
                  <a:chExt cx="368029" cy="370189"/>
                </a:xfrm>
              </p:grpSpPr>
              <p:sp>
                <p:nvSpPr>
                  <p:cNvPr id="322" name="Freeform 326">
                    <a:extLst>
                      <a:ext uri="{FF2B5EF4-FFF2-40B4-BE49-F238E27FC236}">
                        <a16:creationId xmlns:a16="http://schemas.microsoft.com/office/drawing/2014/main" id="{62A9F250-BD6E-9ABB-91BC-828E2C9C3F98}"/>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23" name="Freeform 329">
                    <a:extLst>
                      <a:ext uri="{FF2B5EF4-FFF2-40B4-BE49-F238E27FC236}">
                        <a16:creationId xmlns:a16="http://schemas.microsoft.com/office/drawing/2014/main" id="{1A007624-BFBA-943E-FD62-A91867E36A84}"/>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24" name="Freeform 330">
                    <a:extLst>
                      <a:ext uri="{FF2B5EF4-FFF2-40B4-BE49-F238E27FC236}">
                        <a16:creationId xmlns:a16="http://schemas.microsoft.com/office/drawing/2014/main" id="{B280D0B8-9E8B-5DE6-9F40-6BFB689B7047}"/>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314" name="Group 313">
                  <a:extLst>
                    <a:ext uri="{FF2B5EF4-FFF2-40B4-BE49-F238E27FC236}">
                      <a16:creationId xmlns:a16="http://schemas.microsoft.com/office/drawing/2014/main" id="{EA3D62A3-4E35-EDCA-4067-627B9F99E9B1}"/>
                    </a:ext>
                  </a:extLst>
                </p:cNvPr>
                <p:cNvGrpSpPr/>
                <p:nvPr/>
              </p:nvGrpSpPr>
              <p:grpSpPr>
                <a:xfrm>
                  <a:off x="2145511" y="2057040"/>
                  <a:ext cx="343563" cy="345579"/>
                  <a:chOff x="4983693" y="1073777"/>
                  <a:chExt cx="368029" cy="370189"/>
                </a:xfrm>
              </p:grpSpPr>
              <p:sp>
                <p:nvSpPr>
                  <p:cNvPr id="319" name="Freeform 326">
                    <a:extLst>
                      <a:ext uri="{FF2B5EF4-FFF2-40B4-BE49-F238E27FC236}">
                        <a16:creationId xmlns:a16="http://schemas.microsoft.com/office/drawing/2014/main" id="{2DAED6B3-CDF6-4E1F-252C-A95805EDD65B}"/>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20" name="Freeform 329">
                    <a:extLst>
                      <a:ext uri="{FF2B5EF4-FFF2-40B4-BE49-F238E27FC236}">
                        <a16:creationId xmlns:a16="http://schemas.microsoft.com/office/drawing/2014/main" id="{EB79CF50-DB80-22B1-7FCA-892884C44318}"/>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21" name="Freeform 330">
                    <a:extLst>
                      <a:ext uri="{FF2B5EF4-FFF2-40B4-BE49-F238E27FC236}">
                        <a16:creationId xmlns:a16="http://schemas.microsoft.com/office/drawing/2014/main" id="{3976A690-6816-36F2-DB17-050AB2C2E567}"/>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315" name="Group 314">
                  <a:extLst>
                    <a:ext uri="{FF2B5EF4-FFF2-40B4-BE49-F238E27FC236}">
                      <a16:creationId xmlns:a16="http://schemas.microsoft.com/office/drawing/2014/main" id="{F555A59A-FCB6-98E5-732E-DBF6DEB4C76C}"/>
                    </a:ext>
                  </a:extLst>
                </p:cNvPr>
                <p:cNvGrpSpPr/>
                <p:nvPr/>
              </p:nvGrpSpPr>
              <p:grpSpPr>
                <a:xfrm>
                  <a:off x="2497606" y="2057040"/>
                  <a:ext cx="343563" cy="345579"/>
                  <a:chOff x="4983693" y="1073777"/>
                  <a:chExt cx="368029" cy="370189"/>
                </a:xfrm>
              </p:grpSpPr>
              <p:sp>
                <p:nvSpPr>
                  <p:cNvPr id="316" name="Freeform 326">
                    <a:extLst>
                      <a:ext uri="{FF2B5EF4-FFF2-40B4-BE49-F238E27FC236}">
                        <a16:creationId xmlns:a16="http://schemas.microsoft.com/office/drawing/2014/main" id="{8615A866-C500-BCC2-E97D-C9C30EBF31D3}"/>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17" name="Freeform 329">
                    <a:extLst>
                      <a:ext uri="{FF2B5EF4-FFF2-40B4-BE49-F238E27FC236}">
                        <a16:creationId xmlns:a16="http://schemas.microsoft.com/office/drawing/2014/main" id="{44CADA44-8271-615A-B47F-58281240A9CB}"/>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18" name="Freeform 330">
                    <a:extLst>
                      <a:ext uri="{FF2B5EF4-FFF2-40B4-BE49-F238E27FC236}">
                        <a16:creationId xmlns:a16="http://schemas.microsoft.com/office/drawing/2014/main" id="{1D54A765-4869-7C28-3162-A11E5C426C8A}"/>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nvGrpSpPr>
              <p:cNvPr id="300" name="Group 299">
                <a:extLst>
                  <a:ext uri="{FF2B5EF4-FFF2-40B4-BE49-F238E27FC236}">
                    <a16:creationId xmlns:a16="http://schemas.microsoft.com/office/drawing/2014/main" id="{CB7882BE-027A-925E-617B-3471AE33932B}"/>
                  </a:ext>
                </a:extLst>
              </p:cNvPr>
              <p:cNvGrpSpPr/>
              <p:nvPr/>
            </p:nvGrpSpPr>
            <p:grpSpPr>
              <a:xfrm>
                <a:off x="1678981" y="2920576"/>
                <a:ext cx="1047752" cy="345579"/>
                <a:chOff x="1793417" y="2057040"/>
                <a:chExt cx="1047752" cy="345579"/>
              </a:xfrm>
            </p:grpSpPr>
            <p:grpSp>
              <p:nvGrpSpPr>
                <p:cNvPr id="301" name="Group 300">
                  <a:extLst>
                    <a:ext uri="{FF2B5EF4-FFF2-40B4-BE49-F238E27FC236}">
                      <a16:creationId xmlns:a16="http://schemas.microsoft.com/office/drawing/2014/main" id="{262259D2-3A55-B0B7-B13C-7E11FA63604C}"/>
                    </a:ext>
                  </a:extLst>
                </p:cNvPr>
                <p:cNvGrpSpPr/>
                <p:nvPr/>
              </p:nvGrpSpPr>
              <p:grpSpPr>
                <a:xfrm>
                  <a:off x="1793417" y="2057040"/>
                  <a:ext cx="343563" cy="345579"/>
                  <a:chOff x="4983693" y="1073777"/>
                  <a:chExt cx="368029" cy="370189"/>
                </a:xfrm>
              </p:grpSpPr>
              <p:sp>
                <p:nvSpPr>
                  <p:cNvPr id="310" name="Freeform 326">
                    <a:extLst>
                      <a:ext uri="{FF2B5EF4-FFF2-40B4-BE49-F238E27FC236}">
                        <a16:creationId xmlns:a16="http://schemas.microsoft.com/office/drawing/2014/main" id="{E8CB5AD8-00CA-3B5F-7699-BCB91AB7C1A1}"/>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11" name="Freeform 329">
                    <a:extLst>
                      <a:ext uri="{FF2B5EF4-FFF2-40B4-BE49-F238E27FC236}">
                        <a16:creationId xmlns:a16="http://schemas.microsoft.com/office/drawing/2014/main" id="{31803BFB-8D1A-9738-B3FE-38A06D0E3224}"/>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12" name="Freeform 330">
                    <a:extLst>
                      <a:ext uri="{FF2B5EF4-FFF2-40B4-BE49-F238E27FC236}">
                        <a16:creationId xmlns:a16="http://schemas.microsoft.com/office/drawing/2014/main" id="{35673507-1DE0-8366-E703-A7FD38C03704}"/>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302" name="Group 301">
                  <a:extLst>
                    <a:ext uri="{FF2B5EF4-FFF2-40B4-BE49-F238E27FC236}">
                      <a16:creationId xmlns:a16="http://schemas.microsoft.com/office/drawing/2014/main" id="{3DFAD19F-49A7-70A7-C053-21F943705410}"/>
                    </a:ext>
                  </a:extLst>
                </p:cNvPr>
                <p:cNvGrpSpPr/>
                <p:nvPr/>
              </p:nvGrpSpPr>
              <p:grpSpPr>
                <a:xfrm>
                  <a:off x="2145511" y="2057040"/>
                  <a:ext cx="343563" cy="345579"/>
                  <a:chOff x="4983693" y="1073777"/>
                  <a:chExt cx="368029" cy="370189"/>
                </a:xfrm>
              </p:grpSpPr>
              <p:sp>
                <p:nvSpPr>
                  <p:cNvPr id="307" name="Freeform 326">
                    <a:extLst>
                      <a:ext uri="{FF2B5EF4-FFF2-40B4-BE49-F238E27FC236}">
                        <a16:creationId xmlns:a16="http://schemas.microsoft.com/office/drawing/2014/main" id="{94964C91-1A2B-83AB-C8A4-F5FE48DEE881}"/>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08" name="Freeform 329">
                    <a:extLst>
                      <a:ext uri="{FF2B5EF4-FFF2-40B4-BE49-F238E27FC236}">
                        <a16:creationId xmlns:a16="http://schemas.microsoft.com/office/drawing/2014/main" id="{497C8F1F-DC08-10C3-24B1-F92583BA90AA}"/>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09" name="Freeform 330">
                    <a:extLst>
                      <a:ext uri="{FF2B5EF4-FFF2-40B4-BE49-F238E27FC236}">
                        <a16:creationId xmlns:a16="http://schemas.microsoft.com/office/drawing/2014/main" id="{05EC5723-E7C9-E887-3F58-D265A74159C7}"/>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303" name="Group 302">
                  <a:extLst>
                    <a:ext uri="{FF2B5EF4-FFF2-40B4-BE49-F238E27FC236}">
                      <a16:creationId xmlns:a16="http://schemas.microsoft.com/office/drawing/2014/main" id="{0B30F879-0FA5-A2E5-2E75-6B632883B93C}"/>
                    </a:ext>
                  </a:extLst>
                </p:cNvPr>
                <p:cNvGrpSpPr/>
                <p:nvPr/>
              </p:nvGrpSpPr>
              <p:grpSpPr>
                <a:xfrm>
                  <a:off x="2497606" y="2057040"/>
                  <a:ext cx="343563" cy="345579"/>
                  <a:chOff x="4983693" y="1073777"/>
                  <a:chExt cx="368029" cy="370189"/>
                </a:xfrm>
              </p:grpSpPr>
              <p:sp>
                <p:nvSpPr>
                  <p:cNvPr id="304" name="Freeform 326">
                    <a:extLst>
                      <a:ext uri="{FF2B5EF4-FFF2-40B4-BE49-F238E27FC236}">
                        <a16:creationId xmlns:a16="http://schemas.microsoft.com/office/drawing/2014/main" id="{9C7173F6-D5B3-A88F-5358-D22E2EE97278}"/>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05" name="Freeform 329">
                    <a:extLst>
                      <a:ext uri="{FF2B5EF4-FFF2-40B4-BE49-F238E27FC236}">
                        <a16:creationId xmlns:a16="http://schemas.microsoft.com/office/drawing/2014/main" id="{E5BC224E-2623-9536-C2F9-DA82C316D0D7}"/>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06" name="Freeform 330">
                    <a:extLst>
                      <a:ext uri="{FF2B5EF4-FFF2-40B4-BE49-F238E27FC236}">
                        <a16:creationId xmlns:a16="http://schemas.microsoft.com/office/drawing/2014/main" id="{D714B22B-D9C0-9307-A1CF-DE61BCC70B6C}"/>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grpSp>
      <p:grpSp>
        <p:nvGrpSpPr>
          <p:cNvPr id="419" name="Group 418">
            <a:extLst>
              <a:ext uri="{FF2B5EF4-FFF2-40B4-BE49-F238E27FC236}">
                <a16:creationId xmlns:a16="http://schemas.microsoft.com/office/drawing/2014/main" id="{FE131E14-C046-9216-CA9B-048579E4DB64}"/>
              </a:ext>
            </a:extLst>
          </p:cNvPr>
          <p:cNvGrpSpPr/>
          <p:nvPr/>
        </p:nvGrpSpPr>
        <p:grpSpPr>
          <a:xfrm>
            <a:off x="8849592" y="1863041"/>
            <a:ext cx="1260000" cy="1563543"/>
            <a:chOff x="8776022" y="1863041"/>
            <a:chExt cx="1260000" cy="1563543"/>
          </a:xfrm>
        </p:grpSpPr>
        <p:sp>
          <p:nvSpPr>
            <p:cNvPr id="79" name="Rectangle: Rounded Corners 78">
              <a:extLst>
                <a:ext uri="{FF2B5EF4-FFF2-40B4-BE49-F238E27FC236}">
                  <a16:creationId xmlns:a16="http://schemas.microsoft.com/office/drawing/2014/main" id="{F1384484-8D04-8C4F-73A0-7A33CA9C4628}"/>
                </a:ext>
              </a:extLst>
            </p:cNvPr>
            <p:cNvSpPr/>
            <p:nvPr/>
          </p:nvSpPr>
          <p:spPr>
            <a:xfrm>
              <a:off x="8776022" y="1863041"/>
              <a:ext cx="1260000" cy="156354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err="1"/>
            </a:p>
          </p:txBody>
        </p:sp>
        <p:grpSp>
          <p:nvGrpSpPr>
            <p:cNvPr id="337" name="Group 336">
              <a:extLst>
                <a:ext uri="{FF2B5EF4-FFF2-40B4-BE49-F238E27FC236}">
                  <a16:creationId xmlns:a16="http://schemas.microsoft.com/office/drawing/2014/main" id="{EAFF8CF1-2505-6936-CD38-CD5963ED0F09}"/>
                </a:ext>
              </a:extLst>
            </p:cNvPr>
            <p:cNvGrpSpPr/>
            <p:nvPr/>
          </p:nvGrpSpPr>
          <p:grpSpPr>
            <a:xfrm>
              <a:off x="8876303" y="2138707"/>
              <a:ext cx="1059438" cy="1209115"/>
              <a:chOff x="1667295" y="2057040"/>
              <a:chExt cx="1059438" cy="1209115"/>
            </a:xfrm>
          </p:grpSpPr>
          <p:grpSp>
            <p:nvGrpSpPr>
              <p:cNvPr id="338" name="Group 337">
                <a:extLst>
                  <a:ext uri="{FF2B5EF4-FFF2-40B4-BE49-F238E27FC236}">
                    <a16:creationId xmlns:a16="http://schemas.microsoft.com/office/drawing/2014/main" id="{7E19B7A8-CBA6-3372-514F-46771ACC2D9F}"/>
                  </a:ext>
                </a:extLst>
              </p:cNvPr>
              <p:cNvGrpSpPr/>
              <p:nvPr/>
            </p:nvGrpSpPr>
            <p:grpSpPr>
              <a:xfrm>
                <a:off x="1667295" y="2057040"/>
                <a:ext cx="1047752" cy="345579"/>
                <a:chOff x="1793417" y="2057040"/>
                <a:chExt cx="1047752" cy="345579"/>
              </a:xfrm>
            </p:grpSpPr>
            <p:grpSp>
              <p:nvGrpSpPr>
                <p:cNvPr id="365" name="Group 364">
                  <a:extLst>
                    <a:ext uri="{FF2B5EF4-FFF2-40B4-BE49-F238E27FC236}">
                      <a16:creationId xmlns:a16="http://schemas.microsoft.com/office/drawing/2014/main" id="{C17EEDB1-D76D-0A72-13C3-C0A453182DFD}"/>
                    </a:ext>
                  </a:extLst>
                </p:cNvPr>
                <p:cNvGrpSpPr/>
                <p:nvPr/>
              </p:nvGrpSpPr>
              <p:grpSpPr>
                <a:xfrm>
                  <a:off x="1793417" y="2057040"/>
                  <a:ext cx="343563" cy="345579"/>
                  <a:chOff x="4983693" y="1073777"/>
                  <a:chExt cx="368029" cy="370189"/>
                </a:xfrm>
              </p:grpSpPr>
              <p:sp>
                <p:nvSpPr>
                  <p:cNvPr id="374" name="Freeform 326">
                    <a:extLst>
                      <a:ext uri="{FF2B5EF4-FFF2-40B4-BE49-F238E27FC236}">
                        <a16:creationId xmlns:a16="http://schemas.microsoft.com/office/drawing/2014/main" id="{3DC2FA5A-72C4-2AC6-BC00-A1649BB9C6DA}"/>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75" name="Freeform 329">
                    <a:extLst>
                      <a:ext uri="{FF2B5EF4-FFF2-40B4-BE49-F238E27FC236}">
                        <a16:creationId xmlns:a16="http://schemas.microsoft.com/office/drawing/2014/main" id="{8DEE64EB-E699-3855-99DE-51A8B8E649C9}"/>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76" name="Freeform 330">
                    <a:extLst>
                      <a:ext uri="{FF2B5EF4-FFF2-40B4-BE49-F238E27FC236}">
                        <a16:creationId xmlns:a16="http://schemas.microsoft.com/office/drawing/2014/main" id="{904FEC54-6ECD-C1A2-7DCE-A82CB73DDF06}"/>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366" name="Group 365">
                  <a:extLst>
                    <a:ext uri="{FF2B5EF4-FFF2-40B4-BE49-F238E27FC236}">
                      <a16:creationId xmlns:a16="http://schemas.microsoft.com/office/drawing/2014/main" id="{C476B18C-DACE-304C-218D-F461AECB0F1C}"/>
                    </a:ext>
                  </a:extLst>
                </p:cNvPr>
                <p:cNvGrpSpPr/>
                <p:nvPr/>
              </p:nvGrpSpPr>
              <p:grpSpPr>
                <a:xfrm>
                  <a:off x="2145511" y="2057040"/>
                  <a:ext cx="343563" cy="345579"/>
                  <a:chOff x="4983693" y="1073777"/>
                  <a:chExt cx="368029" cy="370189"/>
                </a:xfrm>
              </p:grpSpPr>
              <p:sp>
                <p:nvSpPr>
                  <p:cNvPr id="371" name="Freeform 326">
                    <a:extLst>
                      <a:ext uri="{FF2B5EF4-FFF2-40B4-BE49-F238E27FC236}">
                        <a16:creationId xmlns:a16="http://schemas.microsoft.com/office/drawing/2014/main" id="{AE27A939-8031-A627-0BF2-08AA204446D4}"/>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72" name="Freeform 329">
                    <a:extLst>
                      <a:ext uri="{FF2B5EF4-FFF2-40B4-BE49-F238E27FC236}">
                        <a16:creationId xmlns:a16="http://schemas.microsoft.com/office/drawing/2014/main" id="{C010A825-1508-18C3-C54D-EC611BD13238}"/>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73" name="Freeform 330">
                    <a:extLst>
                      <a:ext uri="{FF2B5EF4-FFF2-40B4-BE49-F238E27FC236}">
                        <a16:creationId xmlns:a16="http://schemas.microsoft.com/office/drawing/2014/main" id="{48D46231-6D66-4B3F-A9E4-995543B1572E}"/>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367" name="Group 366">
                  <a:extLst>
                    <a:ext uri="{FF2B5EF4-FFF2-40B4-BE49-F238E27FC236}">
                      <a16:creationId xmlns:a16="http://schemas.microsoft.com/office/drawing/2014/main" id="{FFB0FC9F-955C-B146-7CD3-6E56249DC3F3}"/>
                    </a:ext>
                  </a:extLst>
                </p:cNvPr>
                <p:cNvGrpSpPr/>
                <p:nvPr/>
              </p:nvGrpSpPr>
              <p:grpSpPr>
                <a:xfrm>
                  <a:off x="2497606" y="2057040"/>
                  <a:ext cx="343563" cy="345579"/>
                  <a:chOff x="4983693" y="1073777"/>
                  <a:chExt cx="368029" cy="370189"/>
                </a:xfrm>
              </p:grpSpPr>
              <p:sp>
                <p:nvSpPr>
                  <p:cNvPr id="368" name="Freeform 326">
                    <a:extLst>
                      <a:ext uri="{FF2B5EF4-FFF2-40B4-BE49-F238E27FC236}">
                        <a16:creationId xmlns:a16="http://schemas.microsoft.com/office/drawing/2014/main" id="{504ECCB5-32CF-4C3E-F54A-28F35C64CE87}"/>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69" name="Freeform 329">
                    <a:extLst>
                      <a:ext uri="{FF2B5EF4-FFF2-40B4-BE49-F238E27FC236}">
                        <a16:creationId xmlns:a16="http://schemas.microsoft.com/office/drawing/2014/main" id="{00187B30-7217-2308-327C-A9579131C0FA}"/>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70" name="Freeform 330">
                    <a:extLst>
                      <a:ext uri="{FF2B5EF4-FFF2-40B4-BE49-F238E27FC236}">
                        <a16:creationId xmlns:a16="http://schemas.microsoft.com/office/drawing/2014/main" id="{B53739FD-F624-BCF5-3FB6-F59346309536}"/>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nvGrpSpPr>
              <p:cNvPr id="339" name="Group 338">
                <a:extLst>
                  <a:ext uri="{FF2B5EF4-FFF2-40B4-BE49-F238E27FC236}">
                    <a16:creationId xmlns:a16="http://schemas.microsoft.com/office/drawing/2014/main" id="{0EEAAD84-5F97-8A7B-646D-7FE9D2A32756}"/>
                  </a:ext>
                </a:extLst>
              </p:cNvPr>
              <p:cNvGrpSpPr/>
              <p:nvPr/>
            </p:nvGrpSpPr>
            <p:grpSpPr>
              <a:xfrm>
                <a:off x="1667295" y="2493857"/>
                <a:ext cx="1047752" cy="345579"/>
                <a:chOff x="1793417" y="2057040"/>
                <a:chExt cx="1047752" cy="345579"/>
              </a:xfrm>
            </p:grpSpPr>
            <p:grpSp>
              <p:nvGrpSpPr>
                <p:cNvPr id="353" name="Group 352">
                  <a:extLst>
                    <a:ext uri="{FF2B5EF4-FFF2-40B4-BE49-F238E27FC236}">
                      <a16:creationId xmlns:a16="http://schemas.microsoft.com/office/drawing/2014/main" id="{845ADF47-8E49-ACB5-0C64-D0B6386B5326}"/>
                    </a:ext>
                  </a:extLst>
                </p:cNvPr>
                <p:cNvGrpSpPr/>
                <p:nvPr/>
              </p:nvGrpSpPr>
              <p:grpSpPr>
                <a:xfrm>
                  <a:off x="1793417" y="2057040"/>
                  <a:ext cx="343563" cy="345579"/>
                  <a:chOff x="4983693" y="1073777"/>
                  <a:chExt cx="368029" cy="370189"/>
                </a:xfrm>
              </p:grpSpPr>
              <p:sp>
                <p:nvSpPr>
                  <p:cNvPr id="362" name="Freeform 326">
                    <a:extLst>
                      <a:ext uri="{FF2B5EF4-FFF2-40B4-BE49-F238E27FC236}">
                        <a16:creationId xmlns:a16="http://schemas.microsoft.com/office/drawing/2014/main" id="{B39F85E7-EB2F-42A8-E827-13428CB8F4A7}"/>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63" name="Freeform 329">
                    <a:extLst>
                      <a:ext uri="{FF2B5EF4-FFF2-40B4-BE49-F238E27FC236}">
                        <a16:creationId xmlns:a16="http://schemas.microsoft.com/office/drawing/2014/main" id="{92289F21-B2BA-F92D-7D37-E5BDA4CD4B06}"/>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64" name="Freeform 330">
                    <a:extLst>
                      <a:ext uri="{FF2B5EF4-FFF2-40B4-BE49-F238E27FC236}">
                        <a16:creationId xmlns:a16="http://schemas.microsoft.com/office/drawing/2014/main" id="{3F62CE9C-4DD0-4797-DD02-339CB0727E29}"/>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354" name="Group 353">
                  <a:extLst>
                    <a:ext uri="{FF2B5EF4-FFF2-40B4-BE49-F238E27FC236}">
                      <a16:creationId xmlns:a16="http://schemas.microsoft.com/office/drawing/2014/main" id="{45C4BE20-A921-F819-6EBD-B2A459041B18}"/>
                    </a:ext>
                  </a:extLst>
                </p:cNvPr>
                <p:cNvGrpSpPr/>
                <p:nvPr/>
              </p:nvGrpSpPr>
              <p:grpSpPr>
                <a:xfrm>
                  <a:off x="2145511" y="2057040"/>
                  <a:ext cx="343563" cy="345579"/>
                  <a:chOff x="4983693" y="1073777"/>
                  <a:chExt cx="368029" cy="370189"/>
                </a:xfrm>
              </p:grpSpPr>
              <p:sp>
                <p:nvSpPr>
                  <p:cNvPr id="359" name="Freeform 326">
                    <a:extLst>
                      <a:ext uri="{FF2B5EF4-FFF2-40B4-BE49-F238E27FC236}">
                        <a16:creationId xmlns:a16="http://schemas.microsoft.com/office/drawing/2014/main" id="{97054585-2395-3BD2-6032-C8F57BFC7917}"/>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60" name="Freeform 329">
                    <a:extLst>
                      <a:ext uri="{FF2B5EF4-FFF2-40B4-BE49-F238E27FC236}">
                        <a16:creationId xmlns:a16="http://schemas.microsoft.com/office/drawing/2014/main" id="{E1111B78-84EA-E961-4914-D4058FD77916}"/>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61" name="Freeform 330">
                    <a:extLst>
                      <a:ext uri="{FF2B5EF4-FFF2-40B4-BE49-F238E27FC236}">
                        <a16:creationId xmlns:a16="http://schemas.microsoft.com/office/drawing/2014/main" id="{D9C36FEF-F2BC-6D3F-554A-1AD474E6905E}"/>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355" name="Group 354">
                  <a:extLst>
                    <a:ext uri="{FF2B5EF4-FFF2-40B4-BE49-F238E27FC236}">
                      <a16:creationId xmlns:a16="http://schemas.microsoft.com/office/drawing/2014/main" id="{CBFBD200-B56A-2B72-DD3A-585E8D5264EF}"/>
                    </a:ext>
                  </a:extLst>
                </p:cNvPr>
                <p:cNvGrpSpPr/>
                <p:nvPr/>
              </p:nvGrpSpPr>
              <p:grpSpPr>
                <a:xfrm>
                  <a:off x="2497606" y="2057040"/>
                  <a:ext cx="343563" cy="345579"/>
                  <a:chOff x="4983693" y="1073777"/>
                  <a:chExt cx="368029" cy="370189"/>
                </a:xfrm>
              </p:grpSpPr>
              <p:sp>
                <p:nvSpPr>
                  <p:cNvPr id="356" name="Freeform 326">
                    <a:extLst>
                      <a:ext uri="{FF2B5EF4-FFF2-40B4-BE49-F238E27FC236}">
                        <a16:creationId xmlns:a16="http://schemas.microsoft.com/office/drawing/2014/main" id="{D23D7DF3-2A4D-1AAE-334D-7D8063ECC060}"/>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57" name="Freeform 329">
                    <a:extLst>
                      <a:ext uri="{FF2B5EF4-FFF2-40B4-BE49-F238E27FC236}">
                        <a16:creationId xmlns:a16="http://schemas.microsoft.com/office/drawing/2014/main" id="{0431C9B6-D674-38AA-F1BB-F242BDDEA7A1}"/>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58" name="Freeform 330">
                    <a:extLst>
                      <a:ext uri="{FF2B5EF4-FFF2-40B4-BE49-F238E27FC236}">
                        <a16:creationId xmlns:a16="http://schemas.microsoft.com/office/drawing/2014/main" id="{AA1970AA-5AEC-6C34-FCE2-FFC0E1241D55}"/>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nvGrpSpPr>
              <p:cNvPr id="340" name="Group 339">
                <a:extLst>
                  <a:ext uri="{FF2B5EF4-FFF2-40B4-BE49-F238E27FC236}">
                    <a16:creationId xmlns:a16="http://schemas.microsoft.com/office/drawing/2014/main" id="{3E7EFB8F-1B8F-6C67-5368-F2B6EBE1B9F4}"/>
                  </a:ext>
                </a:extLst>
              </p:cNvPr>
              <p:cNvGrpSpPr/>
              <p:nvPr/>
            </p:nvGrpSpPr>
            <p:grpSpPr>
              <a:xfrm>
                <a:off x="1678981" y="2920576"/>
                <a:ext cx="1047752" cy="345579"/>
                <a:chOff x="1793417" y="2057040"/>
                <a:chExt cx="1047752" cy="345579"/>
              </a:xfrm>
            </p:grpSpPr>
            <p:grpSp>
              <p:nvGrpSpPr>
                <p:cNvPr id="341" name="Group 340">
                  <a:extLst>
                    <a:ext uri="{FF2B5EF4-FFF2-40B4-BE49-F238E27FC236}">
                      <a16:creationId xmlns:a16="http://schemas.microsoft.com/office/drawing/2014/main" id="{C3B14248-A9A2-3C47-C33C-ED267E134DF2}"/>
                    </a:ext>
                  </a:extLst>
                </p:cNvPr>
                <p:cNvGrpSpPr/>
                <p:nvPr/>
              </p:nvGrpSpPr>
              <p:grpSpPr>
                <a:xfrm>
                  <a:off x="1793417" y="2057040"/>
                  <a:ext cx="343563" cy="345579"/>
                  <a:chOff x="4983693" y="1073777"/>
                  <a:chExt cx="368029" cy="370189"/>
                </a:xfrm>
              </p:grpSpPr>
              <p:sp>
                <p:nvSpPr>
                  <p:cNvPr id="350" name="Freeform 326">
                    <a:extLst>
                      <a:ext uri="{FF2B5EF4-FFF2-40B4-BE49-F238E27FC236}">
                        <a16:creationId xmlns:a16="http://schemas.microsoft.com/office/drawing/2014/main" id="{75971177-4AFF-B245-9845-5106B9E299D1}"/>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51" name="Freeform 329">
                    <a:extLst>
                      <a:ext uri="{FF2B5EF4-FFF2-40B4-BE49-F238E27FC236}">
                        <a16:creationId xmlns:a16="http://schemas.microsoft.com/office/drawing/2014/main" id="{828A1B5E-0431-4B12-8588-07F51F842438}"/>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52" name="Freeform 330">
                    <a:extLst>
                      <a:ext uri="{FF2B5EF4-FFF2-40B4-BE49-F238E27FC236}">
                        <a16:creationId xmlns:a16="http://schemas.microsoft.com/office/drawing/2014/main" id="{9D0207B3-9AEF-708B-A751-478F4DD70EB8}"/>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342" name="Group 341">
                  <a:extLst>
                    <a:ext uri="{FF2B5EF4-FFF2-40B4-BE49-F238E27FC236}">
                      <a16:creationId xmlns:a16="http://schemas.microsoft.com/office/drawing/2014/main" id="{5944D8FD-5382-9FD0-A854-FAE59E2BBDA8}"/>
                    </a:ext>
                  </a:extLst>
                </p:cNvPr>
                <p:cNvGrpSpPr/>
                <p:nvPr/>
              </p:nvGrpSpPr>
              <p:grpSpPr>
                <a:xfrm>
                  <a:off x="2145511" y="2057040"/>
                  <a:ext cx="343563" cy="345579"/>
                  <a:chOff x="4983693" y="1073777"/>
                  <a:chExt cx="368029" cy="370189"/>
                </a:xfrm>
              </p:grpSpPr>
              <p:sp>
                <p:nvSpPr>
                  <p:cNvPr id="347" name="Freeform 326">
                    <a:extLst>
                      <a:ext uri="{FF2B5EF4-FFF2-40B4-BE49-F238E27FC236}">
                        <a16:creationId xmlns:a16="http://schemas.microsoft.com/office/drawing/2014/main" id="{02188389-71BB-2EFA-1C8C-189CB163A8DE}"/>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48" name="Freeform 329">
                    <a:extLst>
                      <a:ext uri="{FF2B5EF4-FFF2-40B4-BE49-F238E27FC236}">
                        <a16:creationId xmlns:a16="http://schemas.microsoft.com/office/drawing/2014/main" id="{A06CF7AC-F05F-4613-0368-6877D99D8996}"/>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49" name="Freeform 330">
                    <a:extLst>
                      <a:ext uri="{FF2B5EF4-FFF2-40B4-BE49-F238E27FC236}">
                        <a16:creationId xmlns:a16="http://schemas.microsoft.com/office/drawing/2014/main" id="{934F3160-B7AF-2CFB-D290-62BBCEE595E7}"/>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343" name="Group 342">
                  <a:extLst>
                    <a:ext uri="{FF2B5EF4-FFF2-40B4-BE49-F238E27FC236}">
                      <a16:creationId xmlns:a16="http://schemas.microsoft.com/office/drawing/2014/main" id="{179611A7-46AE-7610-B2EF-85A45D6B34FD}"/>
                    </a:ext>
                  </a:extLst>
                </p:cNvPr>
                <p:cNvGrpSpPr/>
                <p:nvPr/>
              </p:nvGrpSpPr>
              <p:grpSpPr>
                <a:xfrm>
                  <a:off x="2497606" y="2057040"/>
                  <a:ext cx="343563" cy="345579"/>
                  <a:chOff x="4983693" y="1073777"/>
                  <a:chExt cx="368029" cy="370189"/>
                </a:xfrm>
              </p:grpSpPr>
              <p:sp>
                <p:nvSpPr>
                  <p:cNvPr id="344" name="Freeform 326">
                    <a:extLst>
                      <a:ext uri="{FF2B5EF4-FFF2-40B4-BE49-F238E27FC236}">
                        <a16:creationId xmlns:a16="http://schemas.microsoft.com/office/drawing/2014/main" id="{B8C4D255-9C6A-7923-E09E-E0BE54751997}"/>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45" name="Freeform 329">
                    <a:extLst>
                      <a:ext uri="{FF2B5EF4-FFF2-40B4-BE49-F238E27FC236}">
                        <a16:creationId xmlns:a16="http://schemas.microsoft.com/office/drawing/2014/main" id="{EC31CD8D-9ED1-C494-5670-BC90401E2F16}"/>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46" name="Freeform 330">
                    <a:extLst>
                      <a:ext uri="{FF2B5EF4-FFF2-40B4-BE49-F238E27FC236}">
                        <a16:creationId xmlns:a16="http://schemas.microsoft.com/office/drawing/2014/main" id="{7BFFF86E-75C3-B517-8884-C496C036C015}"/>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grpSp>
      <p:grpSp>
        <p:nvGrpSpPr>
          <p:cNvPr id="420" name="Group 419">
            <a:extLst>
              <a:ext uri="{FF2B5EF4-FFF2-40B4-BE49-F238E27FC236}">
                <a16:creationId xmlns:a16="http://schemas.microsoft.com/office/drawing/2014/main" id="{140070F0-B573-D177-537D-0BC0D7DF4AEA}"/>
              </a:ext>
            </a:extLst>
          </p:cNvPr>
          <p:cNvGrpSpPr/>
          <p:nvPr/>
        </p:nvGrpSpPr>
        <p:grpSpPr>
          <a:xfrm>
            <a:off x="10293597" y="1863041"/>
            <a:ext cx="1260000" cy="1563543"/>
            <a:chOff x="10220027" y="1863041"/>
            <a:chExt cx="1260000" cy="1563543"/>
          </a:xfrm>
        </p:grpSpPr>
        <p:sp>
          <p:nvSpPr>
            <p:cNvPr id="80" name="Rectangle: Rounded Corners 79">
              <a:extLst>
                <a:ext uri="{FF2B5EF4-FFF2-40B4-BE49-F238E27FC236}">
                  <a16:creationId xmlns:a16="http://schemas.microsoft.com/office/drawing/2014/main" id="{1879424C-15FF-738C-ADDF-124B02FD033E}"/>
                </a:ext>
              </a:extLst>
            </p:cNvPr>
            <p:cNvSpPr/>
            <p:nvPr/>
          </p:nvSpPr>
          <p:spPr>
            <a:xfrm>
              <a:off x="10220027" y="1863041"/>
              <a:ext cx="1260000" cy="156354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err="1"/>
            </a:p>
          </p:txBody>
        </p:sp>
        <p:grpSp>
          <p:nvGrpSpPr>
            <p:cNvPr id="377" name="Group 376">
              <a:extLst>
                <a:ext uri="{FF2B5EF4-FFF2-40B4-BE49-F238E27FC236}">
                  <a16:creationId xmlns:a16="http://schemas.microsoft.com/office/drawing/2014/main" id="{9C3DC996-B9B1-BCF9-0387-0CBB712069E2}"/>
                </a:ext>
              </a:extLst>
            </p:cNvPr>
            <p:cNvGrpSpPr/>
            <p:nvPr/>
          </p:nvGrpSpPr>
          <p:grpSpPr>
            <a:xfrm>
              <a:off x="10266121" y="2094286"/>
              <a:ext cx="1059438" cy="1209115"/>
              <a:chOff x="1667295" y="2057040"/>
              <a:chExt cx="1059438" cy="1209115"/>
            </a:xfrm>
          </p:grpSpPr>
          <p:grpSp>
            <p:nvGrpSpPr>
              <p:cNvPr id="378" name="Group 377">
                <a:extLst>
                  <a:ext uri="{FF2B5EF4-FFF2-40B4-BE49-F238E27FC236}">
                    <a16:creationId xmlns:a16="http://schemas.microsoft.com/office/drawing/2014/main" id="{C7BB59BD-675C-2DB1-8B36-4341A40FC164}"/>
                  </a:ext>
                </a:extLst>
              </p:cNvPr>
              <p:cNvGrpSpPr/>
              <p:nvPr/>
            </p:nvGrpSpPr>
            <p:grpSpPr>
              <a:xfrm>
                <a:off x="1667295" y="2057040"/>
                <a:ext cx="1047752" cy="345579"/>
                <a:chOff x="1793417" y="2057040"/>
                <a:chExt cx="1047752" cy="345579"/>
              </a:xfrm>
            </p:grpSpPr>
            <p:grpSp>
              <p:nvGrpSpPr>
                <p:cNvPr id="405" name="Group 404">
                  <a:extLst>
                    <a:ext uri="{FF2B5EF4-FFF2-40B4-BE49-F238E27FC236}">
                      <a16:creationId xmlns:a16="http://schemas.microsoft.com/office/drawing/2014/main" id="{6F4182A0-DB11-95B0-1674-5EBE6AA1E8D7}"/>
                    </a:ext>
                  </a:extLst>
                </p:cNvPr>
                <p:cNvGrpSpPr/>
                <p:nvPr/>
              </p:nvGrpSpPr>
              <p:grpSpPr>
                <a:xfrm>
                  <a:off x="1793417" y="2057040"/>
                  <a:ext cx="343563" cy="345579"/>
                  <a:chOff x="4983693" y="1073777"/>
                  <a:chExt cx="368029" cy="370189"/>
                </a:xfrm>
              </p:grpSpPr>
              <p:sp>
                <p:nvSpPr>
                  <p:cNvPr id="414" name="Freeform 326">
                    <a:extLst>
                      <a:ext uri="{FF2B5EF4-FFF2-40B4-BE49-F238E27FC236}">
                        <a16:creationId xmlns:a16="http://schemas.microsoft.com/office/drawing/2014/main" id="{7BF4F022-D06B-2247-2639-1A24B032FADF}"/>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415" name="Freeform 329">
                    <a:extLst>
                      <a:ext uri="{FF2B5EF4-FFF2-40B4-BE49-F238E27FC236}">
                        <a16:creationId xmlns:a16="http://schemas.microsoft.com/office/drawing/2014/main" id="{42145180-C081-DE12-BAD4-7EFCF4C0290A}"/>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416" name="Freeform 330">
                    <a:extLst>
                      <a:ext uri="{FF2B5EF4-FFF2-40B4-BE49-F238E27FC236}">
                        <a16:creationId xmlns:a16="http://schemas.microsoft.com/office/drawing/2014/main" id="{D06053E2-1B0F-626A-6F38-716666BA472B}"/>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406" name="Group 405">
                  <a:extLst>
                    <a:ext uri="{FF2B5EF4-FFF2-40B4-BE49-F238E27FC236}">
                      <a16:creationId xmlns:a16="http://schemas.microsoft.com/office/drawing/2014/main" id="{38163581-1E68-852B-F243-4BB84489B812}"/>
                    </a:ext>
                  </a:extLst>
                </p:cNvPr>
                <p:cNvGrpSpPr/>
                <p:nvPr/>
              </p:nvGrpSpPr>
              <p:grpSpPr>
                <a:xfrm>
                  <a:off x="2145511" y="2057040"/>
                  <a:ext cx="343563" cy="345579"/>
                  <a:chOff x="4983693" y="1073777"/>
                  <a:chExt cx="368029" cy="370189"/>
                </a:xfrm>
              </p:grpSpPr>
              <p:sp>
                <p:nvSpPr>
                  <p:cNvPr id="411" name="Freeform 326">
                    <a:extLst>
                      <a:ext uri="{FF2B5EF4-FFF2-40B4-BE49-F238E27FC236}">
                        <a16:creationId xmlns:a16="http://schemas.microsoft.com/office/drawing/2014/main" id="{BEC671D6-D27F-322A-3AFD-D834F2837799}"/>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412" name="Freeform 329">
                    <a:extLst>
                      <a:ext uri="{FF2B5EF4-FFF2-40B4-BE49-F238E27FC236}">
                        <a16:creationId xmlns:a16="http://schemas.microsoft.com/office/drawing/2014/main" id="{F4032B38-91E4-E35D-B6CE-21179F79F441}"/>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413" name="Freeform 330">
                    <a:extLst>
                      <a:ext uri="{FF2B5EF4-FFF2-40B4-BE49-F238E27FC236}">
                        <a16:creationId xmlns:a16="http://schemas.microsoft.com/office/drawing/2014/main" id="{C3CC316A-6A71-BC44-0B54-C1DBBB997A30}"/>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407" name="Group 406">
                  <a:extLst>
                    <a:ext uri="{FF2B5EF4-FFF2-40B4-BE49-F238E27FC236}">
                      <a16:creationId xmlns:a16="http://schemas.microsoft.com/office/drawing/2014/main" id="{234B7E14-D82E-E4C8-1908-330938A220C7}"/>
                    </a:ext>
                  </a:extLst>
                </p:cNvPr>
                <p:cNvGrpSpPr/>
                <p:nvPr/>
              </p:nvGrpSpPr>
              <p:grpSpPr>
                <a:xfrm>
                  <a:off x="2497606" y="2057040"/>
                  <a:ext cx="343563" cy="345579"/>
                  <a:chOff x="4983693" y="1073777"/>
                  <a:chExt cx="368029" cy="370189"/>
                </a:xfrm>
              </p:grpSpPr>
              <p:sp>
                <p:nvSpPr>
                  <p:cNvPr id="408" name="Freeform 326">
                    <a:extLst>
                      <a:ext uri="{FF2B5EF4-FFF2-40B4-BE49-F238E27FC236}">
                        <a16:creationId xmlns:a16="http://schemas.microsoft.com/office/drawing/2014/main" id="{C68BD0B0-47C7-2901-318E-0F1B8F4F7E00}"/>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409" name="Freeform 329">
                    <a:extLst>
                      <a:ext uri="{FF2B5EF4-FFF2-40B4-BE49-F238E27FC236}">
                        <a16:creationId xmlns:a16="http://schemas.microsoft.com/office/drawing/2014/main" id="{6BAA4EA1-419C-C03F-5599-6A117D882A1F}"/>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410" name="Freeform 330">
                    <a:extLst>
                      <a:ext uri="{FF2B5EF4-FFF2-40B4-BE49-F238E27FC236}">
                        <a16:creationId xmlns:a16="http://schemas.microsoft.com/office/drawing/2014/main" id="{660B9053-C6E3-188D-BC6D-90D7FC076183}"/>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nvGrpSpPr>
              <p:cNvPr id="379" name="Group 378">
                <a:extLst>
                  <a:ext uri="{FF2B5EF4-FFF2-40B4-BE49-F238E27FC236}">
                    <a16:creationId xmlns:a16="http://schemas.microsoft.com/office/drawing/2014/main" id="{77C92D4D-8601-88FA-BC1C-BEFE99987448}"/>
                  </a:ext>
                </a:extLst>
              </p:cNvPr>
              <p:cNvGrpSpPr/>
              <p:nvPr/>
            </p:nvGrpSpPr>
            <p:grpSpPr>
              <a:xfrm>
                <a:off x="1667295" y="2493857"/>
                <a:ext cx="1047752" cy="345579"/>
                <a:chOff x="1793417" y="2057040"/>
                <a:chExt cx="1047752" cy="345579"/>
              </a:xfrm>
            </p:grpSpPr>
            <p:grpSp>
              <p:nvGrpSpPr>
                <p:cNvPr id="393" name="Group 392">
                  <a:extLst>
                    <a:ext uri="{FF2B5EF4-FFF2-40B4-BE49-F238E27FC236}">
                      <a16:creationId xmlns:a16="http://schemas.microsoft.com/office/drawing/2014/main" id="{AEFCE692-E2D0-46BB-7E52-65765FC8EA52}"/>
                    </a:ext>
                  </a:extLst>
                </p:cNvPr>
                <p:cNvGrpSpPr/>
                <p:nvPr/>
              </p:nvGrpSpPr>
              <p:grpSpPr>
                <a:xfrm>
                  <a:off x="1793417" y="2057040"/>
                  <a:ext cx="343563" cy="345579"/>
                  <a:chOff x="4983693" y="1073777"/>
                  <a:chExt cx="368029" cy="370189"/>
                </a:xfrm>
              </p:grpSpPr>
              <p:sp>
                <p:nvSpPr>
                  <p:cNvPr id="402" name="Freeform 326">
                    <a:extLst>
                      <a:ext uri="{FF2B5EF4-FFF2-40B4-BE49-F238E27FC236}">
                        <a16:creationId xmlns:a16="http://schemas.microsoft.com/office/drawing/2014/main" id="{B2B717F7-5F71-2823-C537-18EDC0FC4C3C}"/>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403" name="Freeform 329">
                    <a:extLst>
                      <a:ext uri="{FF2B5EF4-FFF2-40B4-BE49-F238E27FC236}">
                        <a16:creationId xmlns:a16="http://schemas.microsoft.com/office/drawing/2014/main" id="{1510169D-AB25-D49B-A0C5-9C94F5023497}"/>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404" name="Freeform 330">
                    <a:extLst>
                      <a:ext uri="{FF2B5EF4-FFF2-40B4-BE49-F238E27FC236}">
                        <a16:creationId xmlns:a16="http://schemas.microsoft.com/office/drawing/2014/main" id="{FF030654-E139-AD10-9006-518D335837BC}"/>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394" name="Group 393">
                  <a:extLst>
                    <a:ext uri="{FF2B5EF4-FFF2-40B4-BE49-F238E27FC236}">
                      <a16:creationId xmlns:a16="http://schemas.microsoft.com/office/drawing/2014/main" id="{1B8380B5-A399-188F-2A86-DBDF1E1064F4}"/>
                    </a:ext>
                  </a:extLst>
                </p:cNvPr>
                <p:cNvGrpSpPr/>
                <p:nvPr/>
              </p:nvGrpSpPr>
              <p:grpSpPr>
                <a:xfrm>
                  <a:off x="2145511" y="2057040"/>
                  <a:ext cx="343563" cy="345579"/>
                  <a:chOff x="4983693" y="1073777"/>
                  <a:chExt cx="368029" cy="370189"/>
                </a:xfrm>
              </p:grpSpPr>
              <p:sp>
                <p:nvSpPr>
                  <p:cNvPr id="399" name="Freeform 326">
                    <a:extLst>
                      <a:ext uri="{FF2B5EF4-FFF2-40B4-BE49-F238E27FC236}">
                        <a16:creationId xmlns:a16="http://schemas.microsoft.com/office/drawing/2014/main" id="{74FCC3DA-340F-CC98-6191-D0D94A0B924E}"/>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400" name="Freeform 329">
                    <a:extLst>
                      <a:ext uri="{FF2B5EF4-FFF2-40B4-BE49-F238E27FC236}">
                        <a16:creationId xmlns:a16="http://schemas.microsoft.com/office/drawing/2014/main" id="{BF2D97F4-0675-F146-BAE3-1382647FB52F}"/>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401" name="Freeform 330">
                    <a:extLst>
                      <a:ext uri="{FF2B5EF4-FFF2-40B4-BE49-F238E27FC236}">
                        <a16:creationId xmlns:a16="http://schemas.microsoft.com/office/drawing/2014/main" id="{78D28B1B-8E44-ABE4-D10E-F80778C11944}"/>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395" name="Group 394">
                  <a:extLst>
                    <a:ext uri="{FF2B5EF4-FFF2-40B4-BE49-F238E27FC236}">
                      <a16:creationId xmlns:a16="http://schemas.microsoft.com/office/drawing/2014/main" id="{575726C5-46CA-9360-9A23-462EECF72E3E}"/>
                    </a:ext>
                  </a:extLst>
                </p:cNvPr>
                <p:cNvGrpSpPr/>
                <p:nvPr/>
              </p:nvGrpSpPr>
              <p:grpSpPr>
                <a:xfrm>
                  <a:off x="2497606" y="2057040"/>
                  <a:ext cx="343563" cy="345579"/>
                  <a:chOff x="4983693" y="1073777"/>
                  <a:chExt cx="368029" cy="370189"/>
                </a:xfrm>
              </p:grpSpPr>
              <p:sp>
                <p:nvSpPr>
                  <p:cNvPr id="396" name="Freeform 326">
                    <a:extLst>
                      <a:ext uri="{FF2B5EF4-FFF2-40B4-BE49-F238E27FC236}">
                        <a16:creationId xmlns:a16="http://schemas.microsoft.com/office/drawing/2014/main" id="{613BDD71-1B08-C941-C401-D3F1B9620D87}"/>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97" name="Freeform 329">
                    <a:extLst>
                      <a:ext uri="{FF2B5EF4-FFF2-40B4-BE49-F238E27FC236}">
                        <a16:creationId xmlns:a16="http://schemas.microsoft.com/office/drawing/2014/main" id="{2B56B4AB-3E37-7148-E605-CCDA720E049D}"/>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98" name="Freeform 330">
                    <a:extLst>
                      <a:ext uri="{FF2B5EF4-FFF2-40B4-BE49-F238E27FC236}">
                        <a16:creationId xmlns:a16="http://schemas.microsoft.com/office/drawing/2014/main" id="{73905932-B7CA-6143-5379-1FB07C38F92A}"/>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nvGrpSpPr>
              <p:cNvPr id="380" name="Group 379">
                <a:extLst>
                  <a:ext uri="{FF2B5EF4-FFF2-40B4-BE49-F238E27FC236}">
                    <a16:creationId xmlns:a16="http://schemas.microsoft.com/office/drawing/2014/main" id="{9F315EA5-616D-0A46-A98A-40A407BBC186}"/>
                  </a:ext>
                </a:extLst>
              </p:cNvPr>
              <p:cNvGrpSpPr/>
              <p:nvPr/>
            </p:nvGrpSpPr>
            <p:grpSpPr>
              <a:xfrm>
                <a:off x="1678981" y="2920576"/>
                <a:ext cx="1047752" cy="345579"/>
                <a:chOff x="1793417" y="2057040"/>
                <a:chExt cx="1047752" cy="345579"/>
              </a:xfrm>
            </p:grpSpPr>
            <p:grpSp>
              <p:nvGrpSpPr>
                <p:cNvPr id="381" name="Group 380">
                  <a:extLst>
                    <a:ext uri="{FF2B5EF4-FFF2-40B4-BE49-F238E27FC236}">
                      <a16:creationId xmlns:a16="http://schemas.microsoft.com/office/drawing/2014/main" id="{E92AB1FB-E0BB-63D3-EB78-9D50F2C076BE}"/>
                    </a:ext>
                  </a:extLst>
                </p:cNvPr>
                <p:cNvGrpSpPr/>
                <p:nvPr/>
              </p:nvGrpSpPr>
              <p:grpSpPr>
                <a:xfrm>
                  <a:off x="1793417" y="2057040"/>
                  <a:ext cx="343563" cy="345579"/>
                  <a:chOff x="4983693" y="1073777"/>
                  <a:chExt cx="368029" cy="370189"/>
                </a:xfrm>
              </p:grpSpPr>
              <p:sp>
                <p:nvSpPr>
                  <p:cNvPr id="390" name="Freeform 326">
                    <a:extLst>
                      <a:ext uri="{FF2B5EF4-FFF2-40B4-BE49-F238E27FC236}">
                        <a16:creationId xmlns:a16="http://schemas.microsoft.com/office/drawing/2014/main" id="{102A75AE-BB32-3827-2E44-567E46186221}"/>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91" name="Freeform 329">
                    <a:extLst>
                      <a:ext uri="{FF2B5EF4-FFF2-40B4-BE49-F238E27FC236}">
                        <a16:creationId xmlns:a16="http://schemas.microsoft.com/office/drawing/2014/main" id="{2F4B0EA4-B723-DE59-3B5F-5901186BABA8}"/>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92" name="Freeform 330">
                    <a:extLst>
                      <a:ext uri="{FF2B5EF4-FFF2-40B4-BE49-F238E27FC236}">
                        <a16:creationId xmlns:a16="http://schemas.microsoft.com/office/drawing/2014/main" id="{22C514FF-2293-F188-96AF-D59C8E569C17}"/>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382" name="Group 381">
                  <a:extLst>
                    <a:ext uri="{FF2B5EF4-FFF2-40B4-BE49-F238E27FC236}">
                      <a16:creationId xmlns:a16="http://schemas.microsoft.com/office/drawing/2014/main" id="{27938CAC-9B7D-BED3-2372-0C098BD9CCC6}"/>
                    </a:ext>
                  </a:extLst>
                </p:cNvPr>
                <p:cNvGrpSpPr/>
                <p:nvPr/>
              </p:nvGrpSpPr>
              <p:grpSpPr>
                <a:xfrm>
                  <a:off x="2145511" y="2057040"/>
                  <a:ext cx="343563" cy="345579"/>
                  <a:chOff x="4983693" y="1073777"/>
                  <a:chExt cx="368029" cy="370189"/>
                </a:xfrm>
              </p:grpSpPr>
              <p:sp>
                <p:nvSpPr>
                  <p:cNvPr id="387" name="Freeform 326">
                    <a:extLst>
                      <a:ext uri="{FF2B5EF4-FFF2-40B4-BE49-F238E27FC236}">
                        <a16:creationId xmlns:a16="http://schemas.microsoft.com/office/drawing/2014/main" id="{21BB2492-FA48-6D70-1D66-3D824D1270F7}"/>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88" name="Freeform 329">
                    <a:extLst>
                      <a:ext uri="{FF2B5EF4-FFF2-40B4-BE49-F238E27FC236}">
                        <a16:creationId xmlns:a16="http://schemas.microsoft.com/office/drawing/2014/main" id="{FB42ABEC-5098-20ED-BDF7-14898D6AEA8D}"/>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89" name="Freeform 330">
                    <a:extLst>
                      <a:ext uri="{FF2B5EF4-FFF2-40B4-BE49-F238E27FC236}">
                        <a16:creationId xmlns:a16="http://schemas.microsoft.com/office/drawing/2014/main" id="{A0751179-F94E-32B9-8DC4-3B3934F28CFA}"/>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nvGrpSpPr>
                <p:cNvPr id="383" name="Group 382">
                  <a:extLst>
                    <a:ext uri="{FF2B5EF4-FFF2-40B4-BE49-F238E27FC236}">
                      <a16:creationId xmlns:a16="http://schemas.microsoft.com/office/drawing/2014/main" id="{88FA9E1A-26D5-7D52-5572-0D3071557250}"/>
                    </a:ext>
                  </a:extLst>
                </p:cNvPr>
                <p:cNvGrpSpPr/>
                <p:nvPr/>
              </p:nvGrpSpPr>
              <p:grpSpPr>
                <a:xfrm>
                  <a:off x="2497606" y="2057040"/>
                  <a:ext cx="343563" cy="345579"/>
                  <a:chOff x="4983693" y="1073777"/>
                  <a:chExt cx="368029" cy="370189"/>
                </a:xfrm>
              </p:grpSpPr>
              <p:sp>
                <p:nvSpPr>
                  <p:cNvPr id="384" name="Freeform 326">
                    <a:extLst>
                      <a:ext uri="{FF2B5EF4-FFF2-40B4-BE49-F238E27FC236}">
                        <a16:creationId xmlns:a16="http://schemas.microsoft.com/office/drawing/2014/main" id="{65218FB6-85C7-78AB-BE6C-001CC0892FC0}"/>
                      </a:ext>
                    </a:extLst>
                  </p:cNvPr>
                  <p:cNvSpPr>
                    <a:spLocks/>
                  </p:cNvSpPr>
                  <p:nvPr/>
                </p:nvSpPr>
                <p:spPr bwMode="auto">
                  <a:xfrm>
                    <a:off x="4983693" y="1073777"/>
                    <a:ext cx="368029" cy="370189"/>
                  </a:xfrm>
                  <a:custGeom>
                    <a:avLst/>
                    <a:gdLst>
                      <a:gd name="T0" fmla="*/ 74 w 515"/>
                      <a:gd name="T1" fmla="*/ 376 h 481"/>
                      <a:gd name="T2" fmla="*/ 123 w 515"/>
                      <a:gd name="T3" fmla="*/ 71 h 481"/>
                      <a:gd name="T4" fmla="*/ 441 w 515"/>
                      <a:gd name="T5" fmla="*/ 116 h 481"/>
                      <a:gd name="T6" fmla="*/ 383 w 515"/>
                      <a:gd name="T7" fmla="*/ 409 h 481"/>
                      <a:gd name="T8" fmla="*/ 74 w 515"/>
                      <a:gd name="T9" fmla="*/ 376 h 481"/>
                    </a:gdLst>
                    <a:ahLst/>
                    <a:cxnLst>
                      <a:cxn ang="0">
                        <a:pos x="T0" y="T1"/>
                      </a:cxn>
                      <a:cxn ang="0">
                        <a:pos x="T2" y="T3"/>
                      </a:cxn>
                      <a:cxn ang="0">
                        <a:pos x="T4" y="T5"/>
                      </a:cxn>
                      <a:cxn ang="0">
                        <a:pos x="T6" y="T7"/>
                      </a:cxn>
                      <a:cxn ang="0">
                        <a:pos x="T8" y="T9"/>
                      </a:cxn>
                    </a:cxnLst>
                    <a:rect l="0" t="0" r="r" b="b"/>
                    <a:pathLst>
                      <a:path w="515" h="481">
                        <a:moveTo>
                          <a:pt x="74" y="376"/>
                        </a:moveTo>
                        <a:cubicBezTo>
                          <a:pt x="0" y="279"/>
                          <a:pt x="22" y="143"/>
                          <a:pt x="123" y="71"/>
                        </a:cubicBezTo>
                        <a:cubicBezTo>
                          <a:pt x="225" y="0"/>
                          <a:pt x="367" y="20"/>
                          <a:pt x="441" y="116"/>
                        </a:cubicBezTo>
                        <a:cubicBezTo>
                          <a:pt x="515" y="213"/>
                          <a:pt x="484" y="337"/>
                          <a:pt x="383" y="409"/>
                        </a:cubicBezTo>
                        <a:cubicBezTo>
                          <a:pt x="282" y="481"/>
                          <a:pt x="148" y="472"/>
                          <a:pt x="74" y="37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85" name="Freeform 329">
                    <a:extLst>
                      <a:ext uri="{FF2B5EF4-FFF2-40B4-BE49-F238E27FC236}">
                        <a16:creationId xmlns:a16="http://schemas.microsoft.com/office/drawing/2014/main" id="{F20AF6FB-4C42-0451-C436-8ACCEED2C56B}"/>
                      </a:ext>
                    </a:extLst>
                  </p:cNvPr>
                  <p:cNvSpPr>
                    <a:spLocks/>
                  </p:cNvSpPr>
                  <p:nvPr/>
                </p:nvSpPr>
                <p:spPr bwMode="auto">
                  <a:xfrm>
                    <a:off x="5115444" y="1131997"/>
                    <a:ext cx="95936" cy="110276"/>
                  </a:xfrm>
                  <a:custGeom>
                    <a:avLst/>
                    <a:gdLst>
                      <a:gd name="T0" fmla="*/ 18 w 33"/>
                      <a:gd name="T1" fmla="*/ 35 h 35"/>
                      <a:gd name="T2" fmla="*/ 32 w 33"/>
                      <a:gd name="T3" fmla="*/ 17 h 35"/>
                      <a:gd name="T4" fmla="*/ 17 w 33"/>
                      <a:gd name="T5" fmla="*/ 1 h 35"/>
                      <a:gd name="T6" fmla="*/ 1 w 33"/>
                      <a:gd name="T7" fmla="*/ 19 h 35"/>
                      <a:gd name="T8" fmla="*/ 18 w 33"/>
                      <a:gd name="T9" fmla="*/ 35 h 35"/>
                    </a:gdLst>
                    <a:ahLst/>
                    <a:cxnLst>
                      <a:cxn ang="0">
                        <a:pos x="T0" y="T1"/>
                      </a:cxn>
                      <a:cxn ang="0">
                        <a:pos x="T2" y="T3"/>
                      </a:cxn>
                      <a:cxn ang="0">
                        <a:pos x="T4" y="T5"/>
                      </a:cxn>
                      <a:cxn ang="0">
                        <a:pos x="T6" y="T7"/>
                      </a:cxn>
                      <a:cxn ang="0">
                        <a:pos x="T8" y="T9"/>
                      </a:cxn>
                    </a:cxnLst>
                    <a:rect l="0" t="0" r="r" b="b"/>
                    <a:pathLst>
                      <a:path w="33" h="35">
                        <a:moveTo>
                          <a:pt x="18" y="35"/>
                        </a:moveTo>
                        <a:cubicBezTo>
                          <a:pt x="27" y="34"/>
                          <a:pt x="33" y="26"/>
                          <a:pt x="32" y="17"/>
                        </a:cubicBezTo>
                        <a:cubicBezTo>
                          <a:pt x="32" y="7"/>
                          <a:pt x="26" y="0"/>
                          <a:pt x="17" y="1"/>
                        </a:cubicBezTo>
                        <a:cubicBezTo>
                          <a:pt x="7" y="2"/>
                          <a:pt x="0" y="10"/>
                          <a:pt x="1" y="19"/>
                        </a:cubicBezTo>
                        <a:cubicBezTo>
                          <a:pt x="1" y="28"/>
                          <a:pt x="8" y="35"/>
                          <a:pt x="1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sp>
                <p:nvSpPr>
                  <p:cNvPr id="386" name="Freeform 330">
                    <a:extLst>
                      <a:ext uri="{FF2B5EF4-FFF2-40B4-BE49-F238E27FC236}">
                        <a16:creationId xmlns:a16="http://schemas.microsoft.com/office/drawing/2014/main" id="{CD6039E2-B485-023B-D265-AEA6F1B8FD7F}"/>
                      </a:ext>
                    </a:extLst>
                  </p:cNvPr>
                  <p:cNvSpPr>
                    <a:spLocks/>
                  </p:cNvSpPr>
                  <p:nvPr/>
                </p:nvSpPr>
                <p:spPr bwMode="auto">
                  <a:xfrm>
                    <a:off x="5082666" y="1250545"/>
                    <a:ext cx="175331" cy="124506"/>
                  </a:xfrm>
                  <a:custGeom>
                    <a:avLst/>
                    <a:gdLst>
                      <a:gd name="T0" fmla="*/ 0 w 61"/>
                      <a:gd name="T1" fmla="*/ 34 h 40"/>
                      <a:gd name="T2" fmla="*/ 1 w 61"/>
                      <a:gd name="T3" fmla="*/ 27 h 40"/>
                      <a:gd name="T4" fmla="*/ 23 w 61"/>
                      <a:gd name="T5" fmla="*/ 5 h 40"/>
                      <a:gd name="T6" fmla="*/ 59 w 61"/>
                      <a:gd name="T7" fmla="*/ 22 h 40"/>
                      <a:gd name="T8" fmla="*/ 50 w 61"/>
                      <a:gd name="T9" fmla="*/ 36 h 40"/>
                      <a:gd name="T10" fmla="*/ 0 w 61"/>
                      <a:gd name="T11" fmla="*/ 34 h 40"/>
                    </a:gdLst>
                    <a:ahLst/>
                    <a:cxnLst>
                      <a:cxn ang="0">
                        <a:pos x="T0" y="T1"/>
                      </a:cxn>
                      <a:cxn ang="0">
                        <a:pos x="T2" y="T3"/>
                      </a:cxn>
                      <a:cxn ang="0">
                        <a:pos x="T4" y="T5"/>
                      </a:cxn>
                      <a:cxn ang="0">
                        <a:pos x="T6" y="T7"/>
                      </a:cxn>
                      <a:cxn ang="0">
                        <a:pos x="T8" y="T9"/>
                      </a:cxn>
                      <a:cxn ang="0">
                        <a:pos x="T10" y="T11"/>
                      </a:cxn>
                    </a:cxnLst>
                    <a:rect l="0" t="0" r="r" b="b"/>
                    <a:pathLst>
                      <a:path w="61" h="40">
                        <a:moveTo>
                          <a:pt x="0" y="34"/>
                        </a:moveTo>
                        <a:cubicBezTo>
                          <a:pt x="0" y="32"/>
                          <a:pt x="0" y="30"/>
                          <a:pt x="1" y="27"/>
                        </a:cubicBezTo>
                        <a:cubicBezTo>
                          <a:pt x="3" y="16"/>
                          <a:pt x="12" y="7"/>
                          <a:pt x="23" y="5"/>
                        </a:cubicBezTo>
                        <a:cubicBezTo>
                          <a:pt x="43" y="0"/>
                          <a:pt x="55" y="11"/>
                          <a:pt x="59" y="22"/>
                        </a:cubicBezTo>
                        <a:cubicBezTo>
                          <a:pt x="61" y="28"/>
                          <a:pt x="57" y="35"/>
                          <a:pt x="50" y="36"/>
                        </a:cubicBezTo>
                        <a:cubicBezTo>
                          <a:pt x="27" y="40"/>
                          <a:pt x="14" y="34"/>
                          <a:pt x="0"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latin typeface="+mj-lt"/>
                    </a:endParaRPr>
                  </a:p>
                </p:txBody>
              </p:sp>
            </p:grpSp>
          </p:grpSp>
        </p:grpSp>
      </p:grpSp>
      <p:sp>
        <p:nvSpPr>
          <p:cNvPr id="422" name="Rectangle 421">
            <a:extLst>
              <a:ext uri="{FF2B5EF4-FFF2-40B4-BE49-F238E27FC236}">
                <a16:creationId xmlns:a16="http://schemas.microsoft.com/office/drawing/2014/main" id="{AEC2A482-2E0E-A4C8-F387-8C5F3F4AF06D}"/>
              </a:ext>
            </a:extLst>
          </p:cNvPr>
          <p:cNvSpPr>
            <a:spLocks/>
          </p:cNvSpPr>
          <p:nvPr/>
        </p:nvSpPr>
        <p:spPr>
          <a:xfrm>
            <a:off x="361891" y="1065055"/>
            <a:ext cx="1080000" cy="753467"/>
          </a:xfrm>
          <a:prstGeom prst="rect">
            <a:avLst/>
          </a:prstGeom>
          <a:solidFill>
            <a:schemeClr val="accent3">
              <a:lumMod val="50000"/>
              <a:lumOff val="50000"/>
            </a:schemeClr>
          </a:solidFill>
          <a:ln w="9525">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kern="0">
                <a:solidFill>
                  <a:srgbClr val="FFFFFF"/>
                </a:solidFill>
                <a:latin typeface="Calibri" panose="020F0502020204030204" pitchFamily="34" charset="0"/>
                <a:ea typeface="Calibri" panose="020F0502020204030204" pitchFamily="34" charset="0"/>
                <a:cs typeface="Calibri" panose="020F0502020204030204" pitchFamily="34" charset="0"/>
              </a:rPr>
              <a:t>Apps </a:t>
            </a:r>
          </a:p>
          <a:p>
            <a:pPr algn="ctr"/>
            <a:r>
              <a:rPr lang="en-US" sz="1200" kern="0">
                <a:solidFill>
                  <a:srgbClr val="FFFFFF"/>
                </a:solidFill>
                <a:latin typeface="Calibri" panose="020F0502020204030204" pitchFamily="34" charset="0"/>
                <a:ea typeface="Calibri" panose="020F0502020204030204" pitchFamily="34" charset="0"/>
                <a:cs typeface="Calibri" panose="020F0502020204030204" pitchFamily="34" charset="0"/>
              </a:rPr>
              <a:t>In-Scope</a:t>
            </a:r>
          </a:p>
        </p:txBody>
      </p:sp>
      <p:sp>
        <p:nvSpPr>
          <p:cNvPr id="423" name="Rectangle 422">
            <a:extLst>
              <a:ext uri="{FF2B5EF4-FFF2-40B4-BE49-F238E27FC236}">
                <a16:creationId xmlns:a16="http://schemas.microsoft.com/office/drawing/2014/main" id="{784AC0C6-AB74-636C-BA2C-7234A44DE941}"/>
              </a:ext>
            </a:extLst>
          </p:cNvPr>
          <p:cNvSpPr>
            <a:spLocks/>
          </p:cNvSpPr>
          <p:nvPr/>
        </p:nvSpPr>
        <p:spPr>
          <a:xfrm>
            <a:off x="367612" y="1900417"/>
            <a:ext cx="1080000" cy="1526167"/>
          </a:xfrm>
          <a:prstGeom prst="rect">
            <a:avLst/>
          </a:prstGeom>
          <a:solidFill>
            <a:schemeClr val="accent3">
              <a:lumMod val="50000"/>
              <a:lumOff val="50000"/>
            </a:schemeClr>
          </a:solidFill>
          <a:ln w="9525">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kern="0">
                <a:solidFill>
                  <a:srgbClr val="FFFFFF"/>
                </a:solidFill>
                <a:latin typeface="Calibri" panose="020F0502020204030204" pitchFamily="34" charset="0"/>
                <a:ea typeface="Calibri" panose="020F0502020204030204" pitchFamily="34" charset="0"/>
                <a:cs typeface="Calibri" panose="020F0502020204030204" pitchFamily="34" charset="0"/>
              </a:rPr>
              <a:t>Flex PODs</a:t>
            </a:r>
          </a:p>
        </p:txBody>
      </p:sp>
      <p:sp>
        <p:nvSpPr>
          <p:cNvPr id="424" name="Rectangle 423">
            <a:extLst>
              <a:ext uri="{FF2B5EF4-FFF2-40B4-BE49-F238E27FC236}">
                <a16:creationId xmlns:a16="http://schemas.microsoft.com/office/drawing/2014/main" id="{59F06E7E-DFBF-12BB-9BDC-A0633FDCE557}"/>
              </a:ext>
            </a:extLst>
          </p:cNvPr>
          <p:cNvSpPr>
            <a:spLocks/>
          </p:cNvSpPr>
          <p:nvPr/>
        </p:nvSpPr>
        <p:spPr>
          <a:xfrm>
            <a:off x="367612" y="3495154"/>
            <a:ext cx="1080000" cy="401816"/>
          </a:xfrm>
          <a:prstGeom prst="rect">
            <a:avLst/>
          </a:prstGeom>
          <a:solidFill>
            <a:schemeClr val="accent3">
              <a:lumMod val="50000"/>
              <a:lumOff val="50000"/>
            </a:schemeClr>
          </a:solidFill>
          <a:ln w="9525">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kern="0">
                <a:solidFill>
                  <a:srgbClr val="FFFFFF"/>
                </a:solidFill>
                <a:latin typeface="Calibri" panose="020F0502020204030204" pitchFamily="34" charset="0"/>
                <a:ea typeface="Calibri" panose="020F0502020204030204" pitchFamily="34" charset="0"/>
                <a:cs typeface="Calibri" panose="020F0502020204030204" pitchFamily="34" charset="0"/>
              </a:rPr>
              <a:t>Horizontal Shred Team</a:t>
            </a:r>
          </a:p>
        </p:txBody>
      </p:sp>
      <p:sp>
        <p:nvSpPr>
          <p:cNvPr id="425" name="Rectangle 424">
            <a:extLst>
              <a:ext uri="{FF2B5EF4-FFF2-40B4-BE49-F238E27FC236}">
                <a16:creationId xmlns:a16="http://schemas.microsoft.com/office/drawing/2014/main" id="{035EEC6C-378B-7CFC-732C-77209974B583}"/>
              </a:ext>
            </a:extLst>
          </p:cNvPr>
          <p:cNvSpPr>
            <a:spLocks/>
          </p:cNvSpPr>
          <p:nvPr/>
        </p:nvSpPr>
        <p:spPr>
          <a:xfrm>
            <a:off x="385211" y="3965539"/>
            <a:ext cx="1080000" cy="486623"/>
          </a:xfrm>
          <a:prstGeom prst="rect">
            <a:avLst/>
          </a:prstGeom>
          <a:solidFill>
            <a:schemeClr val="accent3">
              <a:lumMod val="50000"/>
              <a:lumOff val="50000"/>
            </a:schemeClr>
          </a:solidFill>
          <a:ln w="9525">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kern="0">
                <a:solidFill>
                  <a:srgbClr val="FFFFFF"/>
                </a:solidFill>
                <a:latin typeface="Calibri" panose="020F0502020204030204" pitchFamily="34" charset="0"/>
                <a:ea typeface="Calibri" panose="020F0502020204030204" pitchFamily="34" charset="0"/>
                <a:cs typeface="Calibri" panose="020F0502020204030204" pitchFamily="34" charset="0"/>
              </a:rPr>
              <a:t>Proven Industry Leading Tools</a:t>
            </a:r>
          </a:p>
        </p:txBody>
      </p:sp>
      <p:sp>
        <p:nvSpPr>
          <p:cNvPr id="426" name="Rectangle 425">
            <a:extLst>
              <a:ext uri="{FF2B5EF4-FFF2-40B4-BE49-F238E27FC236}">
                <a16:creationId xmlns:a16="http://schemas.microsoft.com/office/drawing/2014/main" id="{D3B0FEEA-68C5-BCEB-9F4A-EFCB95D59C48}"/>
              </a:ext>
            </a:extLst>
          </p:cNvPr>
          <p:cNvSpPr>
            <a:spLocks/>
          </p:cNvSpPr>
          <p:nvPr/>
        </p:nvSpPr>
        <p:spPr>
          <a:xfrm>
            <a:off x="385211" y="4504493"/>
            <a:ext cx="1080000" cy="540000"/>
          </a:xfrm>
          <a:prstGeom prst="rect">
            <a:avLst/>
          </a:prstGeom>
          <a:solidFill>
            <a:schemeClr val="accent3">
              <a:lumMod val="50000"/>
              <a:lumOff val="50000"/>
            </a:schemeClr>
          </a:solidFill>
          <a:ln w="9525">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kern="0">
                <a:solidFill>
                  <a:srgbClr val="FFFFFF"/>
                </a:solidFill>
                <a:latin typeface="Calibri" panose="020F0502020204030204" pitchFamily="34" charset="0"/>
                <a:ea typeface="Calibri" panose="020F0502020204030204" pitchFamily="34" charset="0"/>
                <a:cs typeface="Calibri" panose="020F0502020204030204" pitchFamily="34" charset="0"/>
              </a:rPr>
              <a:t>Proven Capgemini tools</a:t>
            </a:r>
          </a:p>
        </p:txBody>
      </p:sp>
      <p:sp>
        <p:nvSpPr>
          <p:cNvPr id="427" name="Rectangle 426">
            <a:extLst>
              <a:ext uri="{FF2B5EF4-FFF2-40B4-BE49-F238E27FC236}">
                <a16:creationId xmlns:a16="http://schemas.microsoft.com/office/drawing/2014/main" id="{60D27AD2-4639-4190-7F90-3BF0650C7F39}"/>
              </a:ext>
            </a:extLst>
          </p:cNvPr>
          <p:cNvSpPr>
            <a:spLocks/>
          </p:cNvSpPr>
          <p:nvPr/>
        </p:nvSpPr>
        <p:spPr>
          <a:xfrm>
            <a:off x="385211" y="5095541"/>
            <a:ext cx="1080000" cy="964950"/>
          </a:xfrm>
          <a:prstGeom prst="rect">
            <a:avLst/>
          </a:prstGeom>
          <a:solidFill>
            <a:schemeClr val="accent3">
              <a:lumMod val="50000"/>
              <a:lumOff val="50000"/>
            </a:schemeClr>
          </a:solidFill>
          <a:ln w="9525">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kern="0">
                <a:solidFill>
                  <a:srgbClr val="FFFFFF"/>
                </a:solidFill>
                <a:latin typeface="Calibri" panose="020F0502020204030204" pitchFamily="34" charset="0"/>
                <a:ea typeface="Calibri" panose="020F0502020204030204" pitchFamily="34" charset="0"/>
                <a:cs typeface="Calibri" panose="020F0502020204030204" pitchFamily="34" charset="0"/>
              </a:rPr>
              <a:t>Collaboration</a:t>
            </a:r>
          </a:p>
        </p:txBody>
      </p:sp>
      <p:pic>
        <p:nvPicPr>
          <p:cNvPr id="429" name="Picture 428">
            <a:extLst>
              <a:ext uri="{FF2B5EF4-FFF2-40B4-BE49-F238E27FC236}">
                <a16:creationId xmlns:a16="http://schemas.microsoft.com/office/drawing/2014/main" id="{E17C0BF4-B5CC-1FB5-EBB1-3877E18AF6DB}"/>
              </a:ext>
            </a:extLst>
          </p:cNvPr>
          <p:cNvPicPr>
            <a:picLocks noChangeAspect="1"/>
          </p:cNvPicPr>
          <p:nvPr/>
        </p:nvPicPr>
        <p:blipFill>
          <a:blip r:embed="rId2"/>
          <a:stretch>
            <a:fillRect/>
          </a:stretch>
        </p:blipFill>
        <p:spPr>
          <a:xfrm>
            <a:off x="1641072" y="3973067"/>
            <a:ext cx="694890" cy="273400"/>
          </a:xfrm>
          <a:prstGeom prst="rect">
            <a:avLst/>
          </a:prstGeom>
        </p:spPr>
      </p:pic>
      <p:pic>
        <p:nvPicPr>
          <p:cNvPr id="431" name="Picture 430">
            <a:extLst>
              <a:ext uri="{FF2B5EF4-FFF2-40B4-BE49-F238E27FC236}">
                <a16:creationId xmlns:a16="http://schemas.microsoft.com/office/drawing/2014/main" id="{A649CEB5-06E0-0535-5CD4-7B4C7FE8B5CF}"/>
              </a:ext>
            </a:extLst>
          </p:cNvPr>
          <p:cNvPicPr>
            <a:picLocks noChangeAspect="1"/>
          </p:cNvPicPr>
          <p:nvPr/>
        </p:nvPicPr>
        <p:blipFill>
          <a:blip r:embed="rId3"/>
          <a:stretch>
            <a:fillRect/>
          </a:stretch>
        </p:blipFill>
        <p:spPr>
          <a:xfrm>
            <a:off x="2352568" y="3939830"/>
            <a:ext cx="1012980" cy="340729"/>
          </a:xfrm>
          <a:prstGeom prst="rect">
            <a:avLst/>
          </a:prstGeom>
        </p:spPr>
      </p:pic>
      <p:pic>
        <p:nvPicPr>
          <p:cNvPr id="433" name="Picture 432">
            <a:extLst>
              <a:ext uri="{FF2B5EF4-FFF2-40B4-BE49-F238E27FC236}">
                <a16:creationId xmlns:a16="http://schemas.microsoft.com/office/drawing/2014/main" id="{E836A42F-237E-C103-1AB7-8A43B45421E9}"/>
              </a:ext>
            </a:extLst>
          </p:cNvPr>
          <p:cNvPicPr>
            <a:picLocks noChangeAspect="1"/>
          </p:cNvPicPr>
          <p:nvPr/>
        </p:nvPicPr>
        <p:blipFill>
          <a:blip r:embed="rId4"/>
          <a:stretch>
            <a:fillRect/>
          </a:stretch>
        </p:blipFill>
        <p:spPr>
          <a:xfrm>
            <a:off x="3382154" y="3927256"/>
            <a:ext cx="553212" cy="484652"/>
          </a:xfrm>
          <a:prstGeom prst="rect">
            <a:avLst/>
          </a:prstGeom>
        </p:spPr>
      </p:pic>
      <p:pic>
        <p:nvPicPr>
          <p:cNvPr id="435" name="Picture 434">
            <a:extLst>
              <a:ext uri="{FF2B5EF4-FFF2-40B4-BE49-F238E27FC236}">
                <a16:creationId xmlns:a16="http://schemas.microsoft.com/office/drawing/2014/main" id="{7B7302D4-9A39-C55E-BAE6-50B1FBEDA793}"/>
              </a:ext>
            </a:extLst>
          </p:cNvPr>
          <p:cNvPicPr>
            <a:picLocks noChangeAspect="1"/>
          </p:cNvPicPr>
          <p:nvPr/>
        </p:nvPicPr>
        <p:blipFill>
          <a:blip r:embed="rId5"/>
          <a:stretch>
            <a:fillRect/>
          </a:stretch>
        </p:blipFill>
        <p:spPr>
          <a:xfrm>
            <a:off x="3951972" y="3974341"/>
            <a:ext cx="1098198" cy="183033"/>
          </a:xfrm>
          <a:prstGeom prst="rect">
            <a:avLst/>
          </a:prstGeom>
        </p:spPr>
      </p:pic>
      <p:pic>
        <p:nvPicPr>
          <p:cNvPr id="437" name="Picture 436">
            <a:extLst>
              <a:ext uri="{FF2B5EF4-FFF2-40B4-BE49-F238E27FC236}">
                <a16:creationId xmlns:a16="http://schemas.microsoft.com/office/drawing/2014/main" id="{47388795-29BA-AD4B-7728-E3B97A818237}"/>
              </a:ext>
            </a:extLst>
          </p:cNvPr>
          <p:cNvPicPr>
            <a:picLocks noChangeAspect="1"/>
          </p:cNvPicPr>
          <p:nvPr/>
        </p:nvPicPr>
        <p:blipFill>
          <a:blip r:embed="rId6"/>
          <a:stretch>
            <a:fillRect/>
          </a:stretch>
        </p:blipFill>
        <p:spPr>
          <a:xfrm>
            <a:off x="4162889" y="4237322"/>
            <a:ext cx="1125840" cy="169647"/>
          </a:xfrm>
          <a:prstGeom prst="rect">
            <a:avLst/>
          </a:prstGeom>
        </p:spPr>
      </p:pic>
      <p:pic>
        <p:nvPicPr>
          <p:cNvPr id="439" name="Picture 438">
            <a:extLst>
              <a:ext uri="{FF2B5EF4-FFF2-40B4-BE49-F238E27FC236}">
                <a16:creationId xmlns:a16="http://schemas.microsoft.com/office/drawing/2014/main" id="{A0F03D24-60D3-8DC2-9FFB-4F2F6FFB8700}"/>
              </a:ext>
            </a:extLst>
          </p:cNvPr>
          <p:cNvPicPr>
            <a:picLocks noChangeAspect="1"/>
          </p:cNvPicPr>
          <p:nvPr/>
        </p:nvPicPr>
        <p:blipFill>
          <a:blip r:embed="rId7"/>
          <a:stretch>
            <a:fillRect/>
          </a:stretch>
        </p:blipFill>
        <p:spPr>
          <a:xfrm>
            <a:off x="6209222" y="3947505"/>
            <a:ext cx="1154976" cy="339993"/>
          </a:xfrm>
          <a:prstGeom prst="rect">
            <a:avLst/>
          </a:prstGeom>
        </p:spPr>
      </p:pic>
      <p:pic>
        <p:nvPicPr>
          <p:cNvPr id="441" name="Picture 440">
            <a:extLst>
              <a:ext uri="{FF2B5EF4-FFF2-40B4-BE49-F238E27FC236}">
                <a16:creationId xmlns:a16="http://schemas.microsoft.com/office/drawing/2014/main" id="{7A6C21C8-D3E0-AD00-D307-1B24145C12C2}"/>
              </a:ext>
            </a:extLst>
          </p:cNvPr>
          <p:cNvPicPr>
            <a:picLocks noChangeAspect="1"/>
          </p:cNvPicPr>
          <p:nvPr/>
        </p:nvPicPr>
        <p:blipFill>
          <a:blip r:embed="rId8"/>
          <a:stretch>
            <a:fillRect/>
          </a:stretch>
        </p:blipFill>
        <p:spPr>
          <a:xfrm>
            <a:off x="7380804" y="3981778"/>
            <a:ext cx="1245527" cy="388053"/>
          </a:xfrm>
          <a:prstGeom prst="rect">
            <a:avLst/>
          </a:prstGeom>
        </p:spPr>
      </p:pic>
      <p:pic>
        <p:nvPicPr>
          <p:cNvPr id="443" name="Picture 442">
            <a:extLst>
              <a:ext uri="{FF2B5EF4-FFF2-40B4-BE49-F238E27FC236}">
                <a16:creationId xmlns:a16="http://schemas.microsoft.com/office/drawing/2014/main" id="{E64FAD5E-AD9F-AF00-2BD6-9776DAC46DE3}"/>
              </a:ext>
            </a:extLst>
          </p:cNvPr>
          <p:cNvPicPr>
            <a:picLocks noChangeAspect="1"/>
          </p:cNvPicPr>
          <p:nvPr/>
        </p:nvPicPr>
        <p:blipFill>
          <a:blip r:embed="rId9"/>
          <a:stretch>
            <a:fillRect/>
          </a:stretch>
        </p:blipFill>
        <p:spPr>
          <a:xfrm>
            <a:off x="8642937" y="3973067"/>
            <a:ext cx="644958" cy="424913"/>
          </a:xfrm>
          <a:prstGeom prst="rect">
            <a:avLst/>
          </a:prstGeom>
        </p:spPr>
      </p:pic>
      <p:sp>
        <p:nvSpPr>
          <p:cNvPr id="444" name="Rectangle 443">
            <a:extLst>
              <a:ext uri="{FF2B5EF4-FFF2-40B4-BE49-F238E27FC236}">
                <a16:creationId xmlns:a16="http://schemas.microsoft.com/office/drawing/2014/main" id="{E299EE6F-0BAA-A538-6A88-E8C5F381C5D0}"/>
              </a:ext>
            </a:extLst>
          </p:cNvPr>
          <p:cNvSpPr/>
          <p:nvPr/>
        </p:nvSpPr>
        <p:spPr>
          <a:xfrm>
            <a:off x="1513972" y="761779"/>
            <a:ext cx="10080000" cy="2902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Ubuntu Medium"/>
                <a:ea typeface="+mn-ea"/>
                <a:cs typeface="+mn-cs"/>
              </a:rPr>
              <a:t>Governance</a:t>
            </a:r>
          </a:p>
        </p:txBody>
      </p:sp>
      <p:sp>
        <p:nvSpPr>
          <p:cNvPr id="445" name="Rectangle 444">
            <a:extLst>
              <a:ext uri="{FF2B5EF4-FFF2-40B4-BE49-F238E27FC236}">
                <a16:creationId xmlns:a16="http://schemas.microsoft.com/office/drawing/2014/main" id="{6D6D0E65-EA0C-AD5D-43B0-3AE408F913AC}"/>
              </a:ext>
            </a:extLst>
          </p:cNvPr>
          <p:cNvSpPr>
            <a:spLocks/>
          </p:cNvSpPr>
          <p:nvPr/>
        </p:nvSpPr>
        <p:spPr>
          <a:xfrm>
            <a:off x="361891" y="753224"/>
            <a:ext cx="1080000" cy="288000"/>
          </a:xfrm>
          <a:prstGeom prst="rect">
            <a:avLst/>
          </a:prstGeom>
          <a:solidFill>
            <a:schemeClr val="accent3">
              <a:lumMod val="50000"/>
              <a:lumOff val="50000"/>
            </a:schemeClr>
          </a:solidFill>
          <a:ln w="9525">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200" kern="0">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pic>
        <p:nvPicPr>
          <p:cNvPr id="447" name="Picture 446">
            <a:extLst>
              <a:ext uri="{FF2B5EF4-FFF2-40B4-BE49-F238E27FC236}">
                <a16:creationId xmlns:a16="http://schemas.microsoft.com/office/drawing/2014/main" id="{80F60EB5-FB1F-10D2-A301-AD9C08EF9155}"/>
              </a:ext>
            </a:extLst>
          </p:cNvPr>
          <p:cNvPicPr>
            <a:picLocks noChangeAspect="1"/>
          </p:cNvPicPr>
          <p:nvPr/>
        </p:nvPicPr>
        <p:blipFill>
          <a:blip r:embed="rId10"/>
          <a:stretch>
            <a:fillRect/>
          </a:stretch>
        </p:blipFill>
        <p:spPr>
          <a:xfrm>
            <a:off x="9304501" y="3960225"/>
            <a:ext cx="909388" cy="367525"/>
          </a:xfrm>
          <a:prstGeom prst="rect">
            <a:avLst/>
          </a:prstGeom>
        </p:spPr>
      </p:pic>
      <p:pic>
        <p:nvPicPr>
          <p:cNvPr id="449" name="Picture 448">
            <a:extLst>
              <a:ext uri="{FF2B5EF4-FFF2-40B4-BE49-F238E27FC236}">
                <a16:creationId xmlns:a16="http://schemas.microsoft.com/office/drawing/2014/main" id="{2A0AA7C3-A8DB-CADC-93E0-AB2FCBCF30EE}"/>
              </a:ext>
            </a:extLst>
          </p:cNvPr>
          <p:cNvPicPr>
            <a:picLocks noChangeAspect="1"/>
          </p:cNvPicPr>
          <p:nvPr/>
        </p:nvPicPr>
        <p:blipFill>
          <a:blip r:embed="rId11"/>
          <a:stretch>
            <a:fillRect/>
          </a:stretch>
        </p:blipFill>
        <p:spPr>
          <a:xfrm>
            <a:off x="10230495" y="3929331"/>
            <a:ext cx="466128" cy="422428"/>
          </a:xfrm>
          <a:prstGeom prst="rect">
            <a:avLst/>
          </a:prstGeom>
        </p:spPr>
      </p:pic>
      <p:pic>
        <p:nvPicPr>
          <p:cNvPr id="451" name="Picture 450">
            <a:extLst>
              <a:ext uri="{FF2B5EF4-FFF2-40B4-BE49-F238E27FC236}">
                <a16:creationId xmlns:a16="http://schemas.microsoft.com/office/drawing/2014/main" id="{361C3A88-2735-7650-9DF6-0ED81DF80C3B}"/>
              </a:ext>
            </a:extLst>
          </p:cNvPr>
          <p:cNvPicPr>
            <a:picLocks noChangeAspect="1"/>
          </p:cNvPicPr>
          <p:nvPr/>
        </p:nvPicPr>
        <p:blipFill>
          <a:blip r:embed="rId12"/>
          <a:stretch>
            <a:fillRect/>
          </a:stretch>
        </p:blipFill>
        <p:spPr>
          <a:xfrm>
            <a:off x="10713229" y="3948085"/>
            <a:ext cx="360903" cy="457144"/>
          </a:xfrm>
          <a:prstGeom prst="rect">
            <a:avLst/>
          </a:prstGeom>
        </p:spPr>
      </p:pic>
      <p:pic>
        <p:nvPicPr>
          <p:cNvPr id="453" name="Picture 452">
            <a:extLst>
              <a:ext uri="{FF2B5EF4-FFF2-40B4-BE49-F238E27FC236}">
                <a16:creationId xmlns:a16="http://schemas.microsoft.com/office/drawing/2014/main" id="{E39BFC89-83DE-B2EB-A95D-C0AF10D49F52}"/>
              </a:ext>
            </a:extLst>
          </p:cNvPr>
          <p:cNvPicPr>
            <a:picLocks noChangeAspect="1"/>
          </p:cNvPicPr>
          <p:nvPr/>
        </p:nvPicPr>
        <p:blipFill>
          <a:blip r:embed="rId13"/>
          <a:stretch>
            <a:fillRect/>
          </a:stretch>
        </p:blipFill>
        <p:spPr>
          <a:xfrm>
            <a:off x="11090737" y="3956831"/>
            <a:ext cx="555539" cy="453955"/>
          </a:xfrm>
          <a:prstGeom prst="rect">
            <a:avLst/>
          </a:prstGeom>
        </p:spPr>
      </p:pic>
      <p:pic>
        <p:nvPicPr>
          <p:cNvPr id="455" name="Picture 454">
            <a:extLst>
              <a:ext uri="{FF2B5EF4-FFF2-40B4-BE49-F238E27FC236}">
                <a16:creationId xmlns:a16="http://schemas.microsoft.com/office/drawing/2014/main" id="{6732DC21-A84E-8833-80C3-5C1788C1D839}"/>
              </a:ext>
            </a:extLst>
          </p:cNvPr>
          <p:cNvPicPr>
            <a:picLocks noChangeAspect="1"/>
          </p:cNvPicPr>
          <p:nvPr/>
        </p:nvPicPr>
        <p:blipFill>
          <a:blip r:embed="rId14"/>
          <a:stretch>
            <a:fillRect/>
          </a:stretch>
        </p:blipFill>
        <p:spPr>
          <a:xfrm>
            <a:off x="5550521" y="3874297"/>
            <a:ext cx="476919" cy="421697"/>
          </a:xfrm>
          <a:prstGeom prst="rect">
            <a:avLst/>
          </a:prstGeom>
        </p:spPr>
      </p:pic>
    </p:spTree>
    <p:extLst>
      <p:ext uri="{BB962C8B-B14F-4D97-AF65-F5344CB8AC3E}">
        <p14:creationId xmlns:p14="http://schemas.microsoft.com/office/powerpoint/2010/main" val="10997624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person, computer, indoor, computer&#10;&#10;Description automatically generated">
            <a:extLst>
              <a:ext uri="{FF2B5EF4-FFF2-40B4-BE49-F238E27FC236}">
                <a16:creationId xmlns:a16="http://schemas.microsoft.com/office/drawing/2014/main" id="{5AE71D8B-8087-8641-A34F-5CB98CB8218C}"/>
              </a:ext>
            </a:extLst>
          </p:cNvPr>
          <p:cNvPicPr>
            <a:picLocks noChangeAspect="1"/>
          </p:cNvPicPr>
          <p:nvPr/>
        </p:nvPicPr>
        <p:blipFill rotWithShape="1">
          <a:blip r:embed="rId2">
            <a:extLst>
              <a:ext uri="{28A0092B-C50C-407E-A947-70E740481C1C}">
                <a14:useLocalDpi xmlns:a14="http://schemas.microsoft.com/office/drawing/2010/main" val="0"/>
              </a:ext>
            </a:extLst>
          </a:blip>
          <a:srcRect b="15625"/>
          <a:stretch/>
        </p:blipFill>
        <p:spPr>
          <a:xfrm flipH="1">
            <a:off x="0" y="0"/>
            <a:ext cx="12192000" cy="6858000"/>
          </a:xfrm>
          <a:prstGeom prst="rect">
            <a:avLst/>
          </a:prstGeom>
        </p:spPr>
      </p:pic>
      <p:sp>
        <p:nvSpPr>
          <p:cNvPr id="6" name="Rectangle 5">
            <a:extLst>
              <a:ext uri="{FF2B5EF4-FFF2-40B4-BE49-F238E27FC236}">
                <a16:creationId xmlns:a16="http://schemas.microsoft.com/office/drawing/2014/main" id="{AABE8376-C6BF-2844-AA0F-D4AB73054AB2}"/>
              </a:ext>
            </a:extLst>
          </p:cNvPr>
          <p:cNvSpPr/>
          <p:nvPr/>
        </p:nvSpPr>
        <p:spPr bwMode="white">
          <a:xfrm>
            <a:off x="983432" y="0"/>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Ubuntu Medium"/>
              <a:ea typeface="+mn-ea"/>
              <a:cs typeface="+mn-cs"/>
            </a:endParaRPr>
          </a:p>
        </p:txBody>
      </p:sp>
      <p:pic>
        <p:nvPicPr>
          <p:cNvPr id="8" name="Picture 7">
            <a:extLst>
              <a:ext uri="{FF2B5EF4-FFF2-40B4-BE49-F238E27FC236}">
                <a16:creationId xmlns:a16="http://schemas.microsoft.com/office/drawing/2014/main" id="{1950B1DF-3587-8B48-8CF2-C0142B5A8B6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94369" y="148480"/>
            <a:ext cx="573846" cy="2946314"/>
          </a:xfrm>
          <a:prstGeom prst="rect">
            <a:avLst/>
          </a:prstGeom>
        </p:spPr>
      </p:pic>
      <p:pic>
        <p:nvPicPr>
          <p:cNvPr id="9" name="Picture 8" descr="A picture containing shape&#10;&#10;Description automatically generated">
            <a:extLst>
              <a:ext uri="{FF2B5EF4-FFF2-40B4-BE49-F238E27FC236}">
                <a16:creationId xmlns:a16="http://schemas.microsoft.com/office/drawing/2014/main" id="{23C987CC-7AD1-FC4A-9877-8D48A6D9CCB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68215" y="1292017"/>
            <a:ext cx="1550027" cy="1808365"/>
          </a:xfrm>
          <a:prstGeom prst="rect">
            <a:avLst/>
          </a:prstGeom>
        </p:spPr>
      </p:pic>
      <p:pic>
        <p:nvPicPr>
          <p:cNvPr id="10" name="Picture 9" descr="A picture containing venn diagram&#10;&#10;Description automatically generated">
            <a:extLst>
              <a:ext uri="{FF2B5EF4-FFF2-40B4-BE49-F238E27FC236}">
                <a16:creationId xmlns:a16="http://schemas.microsoft.com/office/drawing/2014/main" id="{E9E15955-7792-1042-965B-8A86C5307F9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118983" y="1290077"/>
            <a:ext cx="2555267" cy="6008579"/>
          </a:xfrm>
          <a:prstGeom prst="rect">
            <a:avLst/>
          </a:prstGeom>
        </p:spPr>
      </p:pic>
      <p:sp>
        <p:nvSpPr>
          <p:cNvPr id="4" name="Title 3">
            <a:extLst>
              <a:ext uri="{FF2B5EF4-FFF2-40B4-BE49-F238E27FC236}">
                <a16:creationId xmlns:a16="http://schemas.microsoft.com/office/drawing/2014/main" id="{15E659B3-EA4B-405E-9FAE-00661F32418F}"/>
              </a:ext>
            </a:extLst>
          </p:cNvPr>
          <p:cNvSpPr>
            <a:spLocks noGrp="1"/>
          </p:cNvSpPr>
          <p:nvPr>
            <p:ph type="ctrTitle" idx="4294967295"/>
          </p:nvPr>
        </p:nvSpPr>
        <p:spPr>
          <a:xfrm>
            <a:off x="0" y="3287713"/>
            <a:ext cx="3641725" cy="1176337"/>
          </a:xfrm>
          <a:prstGeom prst="rect">
            <a:avLst/>
          </a:prstGeom>
        </p:spPr>
        <p:txBody>
          <a:bodyPr anchor="t"/>
          <a:lstStyle/>
          <a:p>
            <a:pPr algn="ctr"/>
            <a:r>
              <a:rPr lang="en-GB" sz="3200">
                <a:solidFill>
                  <a:schemeClr val="bg1"/>
                </a:solidFill>
                <a:latin typeface="Ubuntu" panose="020B0504030602030204" pitchFamily="34" charset="0"/>
              </a:rPr>
              <a:t>Execution Approach</a:t>
            </a:r>
          </a:p>
        </p:txBody>
      </p:sp>
      <p:grpSp>
        <p:nvGrpSpPr>
          <p:cNvPr id="15" name="Groupe 1">
            <a:extLst>
              <a:ext uri="{FF2B5EF4-FFF2-40B4-BE49-F238E27FC236}">
                <a16:creationId xmlns:a16="http://schemas.microsoft.com/office/drawing/2014/main" id="{19DDC407-45D5-0540-BB3E-0DDA2E32CB8A}"/>
              </a:ext>
            </a:extLst>
          </p:cNvPr>
          <p:cNvGrpSpPr>
            <a:grpSpLocks noChangeAspect="1"/>
          </p:cNvGrpSpPr>
          <p:nvPr/>
        </p:nvGrpSpPr>
        <p:grpSpPr>
          <a:xfrm>
            <a:off x="11562163" y="205059"/>
            <a:ext cx="419436" cy="388988"/>
            <a:chOff x="11501102" y="171573"/>
            <a:chExt cx="419436" cy="388988"/>
          </a:xfrm>
        </p:grpSpPr>
        <p:sp>
          <p:nvSpPr>
            <p:cNvPr id="16" name="Freeform 13">
              <a:extLst>
                <a:ext uri="{FF2B5EF4-FFF2-40B4-BE49-F238E27FC236}">
                  <a16:creationId xmlns:a16="http://schemas.microsoft.com/office/drawing/2014/main" id="{96EA3C7C-144E-9B49-AFD7-70ABFAC0925C}"/>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17" name="Freeform 14">
              <a:extLst>
                <a:ext uri="{FF2B5EF4-FFF2-40B4-BE49-F238E27FC236}">
                  <a16:creationId xmlns:a16="http://schemas.microsoft.com/office/drawing/2014/main" id="{B3A9C462-2069-D442-9083-8BD83CD821C1}"/>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12" name="Retângulo 43">
            <a:extLst>
              <a:ext uri="{FF2B5EF4-FFF2-40B4-BE49-F238E27FC236}">
                <a16:creationId xmlns:a16="http://schemas.microsoft.com/office/drawing/2014/main" id="{5539996C-DD2A-49D6-AFB0-763FCB2EE440}"/>
              </a:ext>
            </a:extLst>
          </p:cNvPr>
          <p:cNvSpPr/>
          <p:nvPr/>
        </p:nvSpPr>
        <p:spPr>
          <a:xfrm>
            <a:off x="11744128" y="6517658"/>
            <a:ext cx="229263" cy="215444"/>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srgbClr val="A6A6A6"/>
                </a:solidFill>
                <a:effectLst/>
                <a:uLnTx/>
                <a:uFillTx/>
                <a:latin typeface="Ubuntu" panose="020B0504030602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A6A6A6"/>
              </a:solidFill>
              <a:effectLst/>
              <a:uLnTx/>
              <a:uFillTx/>
              <a:latin typeface="Ubuntu" panose="020B0504030602030204" pitchFamily="34" charset="0"/>
              <a:ea typeface="+mn-ea"/>
              <a:cs typeface="Arial" panose="020B0604020202020204" pitchFamily="34" charset="0"/>
            </a:endParaRPr>
          </a:p>
        </p:txBody>
      </p:sp>
      <p:sp>
        <p:nvSpPr>
          <p:cNvPr id="13" name="Rectangle 27">
            <a:extLst>
              <a:ext uri="{FF2B5EF4-FFF2-40B4-BE49-F238E27FC236}">
                <a16:creationId xmlns:a16="http://schemas.microsoft.com/office/drawing/2014/main" id="{01D50803-B26A-4936-A06C-6E086A6DD719}"/>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A6A6A6"/>
                </a:solidFill>
                <a:effectLst/>
                <a:uLnTx/>
                <a:uFillTx/>
                <a:latin typeface="Ubuntu" panose="020B0504030602030204" pitchFamily="34" charset="0"/>
                <a:ea typeface="+mn-ea"/>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91587377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1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63" presetClass="path" presetSubtype="0" decel="100000" fill="hold" grpId="0" nodeType="withEffect">
                                  <p:stCondLst>
                                    <p:cond delay="1250"/>
                                  </p:stCondLst>
                                  <p:childTnLst>
                                    <p:animMotion origin="layout" path="M -0.05937 0 L -8.33333E-7 0 " pathEditMode="relative" rAng="0" ptsTypes="AA">
                                      <p:cBhvr>
                                        <p:cTn id="9" dur="1100" fill="hold"/>
                                        <p:tgtEl>
                                          <p:spTgt spid="6"/>
                                        </p:tgtEl>
                                        <p:attrNameLst>
                                          <p:attrName>ppt_x</p:attrName>
                                          <p:attrName>ppt_y</p:attrName>
                                        </p:attrNameLst>
                                      </p:cBhvr>
                                      <p:rCtr x="2969" y="0"/>
                                    </p:animMotion>
                                  </p:childTnLst>
                                </p:cTn>
                              </p:par>
                              <p:par>
                                <p:cTn id="10" presetID="22" presetClass="entr" presetSubtype="4" fill="hold" nodeType="withEffect">
                                  <p:stCondLst>
                                    <p:cond delay="200"/>
                                  </p:stCondLst>
                                  <p:childTnLst>
                                    <p:set>
                                      <p:cBhvr>
                                        <p:cTn id="11" dur="1" fill="hold">
                                          <p:stCondLst>
                                            <p:cond delay="0"/>
                                          </p:stCondLst>
                                        </p:cTn>
                                        <p:tgtEl>
                                          <p:spTgt spid="10"/>
                                        </p:tgtEl>
                                        <p:attrNameLst>
                                          <p:attrName>style.visibility</p:attrName>
                                        </p:attrNameLst>
                                      </p:cBhvr>
                                      <p:to>
                                        <p:strVal val="visible"/>
                                      </p:to>
                                    </p:set>
                                    <p:animEffect transition="in" filter="wipe(down)">
                                      <p:cBhvr>
                                        <p:cTn id="12" dur="2200"/>
                                        <p:tgtEl>
                                          <p:spTgt spid="10"/>
                                        </p:tgtEl>
                                      </p:cBhvr>
                                    </p:animEffect>
                                  </p:childTnLst>
                                </p:cTn>
                              </p:par>
                              <p:par>
                                <p:cTn id="13" presetID="22" presetClass="entr" presetSubtype="2" fill="hold" nodeType="withEffect">
                                  <p:stCondLst>
                                    <p:cond delay="2100"/>
                                  </p:stCondLst>
                                  <p:childTnLst>
                                    <p:set>
                                      <p:cBhvr>
                                        <p:cTn id="14" dur="1" fill="hold">
                                          <p:stCondLst>
                                            <p:cond delay="0"/>
                                          </p:stCondLst>
                                        </p:cTn>
                                        <p:tgtEl>
                                          <p:spTgt spid="9"/>
                                        </p:tgtEl>
                                        <p:attrNameLst>
                                          <p:attrName>style.visibility</p:attrName>
                                        </p:attrNameLst>
                                      </p:cBhvr>
                                      <p:to>
                                        <p:strVal val="visible"/>
                                      </p:to>
                                    </p:set>
                                    <p:animEffect transition="in" filter="wipe(right)">
                                      <p:cBhvr>
                                        <p:cTn id="15" dur="1250"/>
                                        <p:tgtEl>
                                          <p:spTgt spid="9"/>
                                        </p:tgtEl>
                                      </p:cBhvr>
                                    </p:animEffect>
                                  </p:childTnLst>
                                </p:cTn>
                              </p:par>
                              <p:par>
                                <p:cTn id="16" presetID="22" presetClass="entr" presetSubtype="4" fill="hold" nodeType="withEffect">
                                  <p:stCondLst>
                                    <p:cond delay="3300"/>
                                  </p:stCondLst>
                                  <p:childTnLst>
                                    <p:set>
                                      <p:cBhvr>
                                        <p:cTn id="17" dur="1" fill="hold">
                                          <p:stCondLst>
                                            <p:cond delay="0"/>
                                          </p:stCondLst>
                                        </p:cTn>
                                        <p:tgtEl>
                                          <p:spTgt spid="8"/>
                                        </p:tgtEl>
                                        <p:attrNameLst>
                                          <p:attrName>style.visibility</p:attrName>
                                        </p:attrNameLst>
                                      </p:cBhvr>
                                      <p:to>
                                        <p:strVal val="visible"/>
                                      </p:to>
                                    </p:set>
                                    <p:animEffect transition="in" filter="wipe(down)">
                                      <p:cBhvr>
                                        <p:cTn id="18" dur="1100"/>
                                        <p:tgtEl>
                                          <p:spTgt spid="8"/>
                                        </p:tgtEl>
                                      </p:cBhvr>
                                    </p:animEffect>
                                  </p:childTnLst>
                                </p:cTn>
                              </p:par>
                              <p:par>
                                <p:cTn id="19" presetID="10" presetClass="entr" presetSubtype="0" fill="hold" grpId="0" nodeType="withEffect">
                                  <p:stCondLst>
                                    <p:cond delay="330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
            <a:extLst>
              <a:ext uri="{FF2B5EF4-FFF2-40B4-BE49-F238E27FC236}">
                <a16:creationId xmlns:a16="http://schemas.microsoft.com/office/drawing/2014/main" id="{78155C4F-F330-47F0-8B4B-B07881FD6939}"/>
              </a:ext>
            </a:extLst>
          </p:cNvPr>
          <p:cNvSpPr>
            <a:spLocks noGrp="1"/>
          </p:cNvSpPr>
          <p:nvPr>
            <p:ph type="title"/>
          </p:nvPr>
        </p:nvSpPr>
        <p:spPr/>
        <p:txBody>
          <a:bodyPr/>
          <a:lstStyle/>
          <a:p>
            <a:r>
              <a:rPr lang="en-US"/>
              <a:t>Our Solution approach</a:t>
            </a:r>
            <a:endParaRPr lang="en-GB"/>
          </a:p>
        </p:txBody>
      </p:sp>
      <p:sp>
        <p:nvSpPr>
          <p:cNvPr id="2" name="Rectangle 1">
            <a:extLst>
              <a:ext uri="{FF2B5EF4-FFF2-40B4-BE49-F238E27FC236}">
                <a16:creationId xmlns:a16="http://schemas.microsoft.com/office/drawing/2014/main" id="{52347B67-7A00-06E9-D106-2796B3A40D40}"/>
              </a:ext>
            </a:extLst>
          </p:cNvPr>
          <p:cNvSpPr/>
          <p:nvPr/>
        </p:nvSpPr>
        <p:spPr>
          <a:xfrm>
            <a:off x="2459242" y="4215874"/>
            <a:ext cx="7705853" cy="224470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50" b="1" i="0" u="none" strike="noStrike" kern="1200" cap="none" spc="0" normalizeH="0" baseline="0" noProof="0">
                <a:ln>
                  <a:noFill/>
                </a:ln>
                <a:solidFill>
                  <a:srgbClr val="0070AD"/>
                </a:solidFill>
                <a:effectLst/>
                <a:uLnTx/>
                <a:uFillTx/>
                <a:ea typeface="+mn-ea"/>
                <a:cs typeface="+mn-cs"/>
              </a:rPr>
              <a:t>Approach</a:t>
            </a:r>
          </a:p>
        </p:txBody>
      </p:sp>
      <p:cxnSp>
        <p:nvCxnSpPr>
          <p:cNvPr id="4" name="Straight Connector 3">
            <a:extLst>
              <a:ext uri="{FF2B5EF4-FFF2-40B4-BE49-F238E27FC236}">
                <a16:creationId xmlns:a16="http://schemas.microsoft.com/office/drawing/2014/main" id="{077C3EB5-46F7-BA0B-93AA-902189EE9512}"/>
              </a:ext>
            </a:extLst>
          </p:cNvPr>
          <p:cNvCxnSpPr>
            <a:cxnSpLocks/>
          </p:cNvCxnSpPr>
          <p:nvPr/>
        </p:nvCxnSpPr>
        <p:spPr>
          <a:xfrm>
            <a:off x="2405706" y="1733837"/>
            <a:ext cx="0" cy="2601726"/>
          </a:xfrm>
          <a:prstGeom prst="line">
            <a:avLst/>
          </a:prstGeom>
          <a:ln>
            <a:solidFill>
              <a:schemeClr val="accent4"/>
            </a:solidFill>
            <a:prstDash val="dashDot"/>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8F355D3-3478-F7C1-EB22-153ED1357A4A}"/>
              </a:ext>
            </a:extLst>
          </p:cNvPr>
          <p:cNvCxnSpPr>
            <a:cxnSpLocks/>
          </p:cNvCxnSpPr>
          <p:nvPr/>
        </p:nvCxnSpPr>
        <p:spPr>
          <a:xfrm>
            <a:off x="10207160" y="1777230"/>
            <a:ext cx="0" cy="2601726"/>
          </a:xfrm>
          <a:prstGeom prst="line">
            <a:avLst/>
          </a:prstGeom>
          <a:ln>
            <a:solidFill>
              <a:schemeClr val="accent4"/>
            </a:solidFill>
            <a:prstDash val="dashDot"/>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C94527B7-4732-4E05-2BB6-FD4210ACE2B6}"/>
              </a:ext>
            </a:extLst>
          </p:cNvPr>
          <p:cNvSpPr/>
          <p:nvPr/>
        </p:nvSpPr>
        <p:spPr>
          <a:xfrm>
            <a:off x="404813" y="4215874"/>
            <a:ext cx="1970300" cy="21698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rtlCol="0" anchor="t">
            <a:spAutoFit/>
          </a:bodyPr>
          <a:lstStyle/>
          <a:p>
            <a:pPr>
              <a:spcAft>
                <a:spcPts val="100"/>
              </a:spcAft>
            </a:pPr>
            <a:r>
              <a:rPr lang="en-US" sz="1050" b="1">
                <a:solidFill>
                  <a:srgbClr val="0070AD"/>
                </a:solidFill>
              </a:rPr>
              <a:t>Approach</a:t>
            </a:r>
          </a:p>
          <a:p>
            <a:pPr marL="136525" indent="-136525">
              <a:spcAft>
                <a:spcPts val="100"/>
              </a:spcAft>
              <a:buClr>
                <a:srgbClr val="0070AD"/>
              </a:buClr>
              <a:buFont typeface="Wingdings" panose="05000000000000000000" pitchFamily="2" charset="2"/>
              <a:buChar char="§"/>
            </a:pPr>
            <a:r>
              <a:rPr lang="en-US" sz="900">
                <a:solidFill>
                  <a:prstClr val="black"/>
                </a:solidFill>
              </a:rPr>
              <a:t>Functional Specifications</a:t>
            </a:r>
          </a:p>
          <a:p>
            <a:pPr marL="136525" indent="-136525">
              <a:spcAft>
                <a:spcPts val="100"/>
              </a:spcAft>
              <a:buClr>
                <a:srgbClr val="0070AD"/>
              </a:buClr>
              <a:buFont typeface="Wingdings" panose="05000000000000000000" pitchFamily="2" charset="2"/>
              <a:buChar char="§"/>
            </a:pPr>
            <a:r>
              <a:rPr lang="en-US" sz="900">
                <a:solidFill>
                  <a:prstClr val="black"/>
                </a:solidFill>
              </a:rPr>
              <a:t>Features Documentation</a:t>
            </a:r>
          </a:p>
          <a:p>
            <a:pPr marL="136525" indent="-136525">
              <a:spcAft>
                <a:spcPts val="100"/>
              </a:spcAft>
              <a:buClr>
                <a:srgbClr val="0070AD"/>
              </a:buClr>
              <a:buFont typeface="Wingdings" panose="05000000000000000000" pitchFamily="2" charset="2"/>
              <a:buChar char="§"/>
            </a:pPr>
            <a:r>
              <a:rPr lang="en-US" sz="900">
                <a:solidFill>
                  <a:prstClr val="black"/>
                </a:solidFill>
              </a:rPr>
              <a:t>Existing Data Model Transitions</a:t>
            </a:r>
          </a:p>
          <a:p>
            <a:pPr marL="136525" indent="-136525">
              <a:spcAft>
                <a:spcPts val="100"/>
              </a:spcAft>
              <a:buClr>
                <a:srgbClr val="0070AD"/>
              </a:buClr>
              <a:buFont typeface="Wingdings" panose="05000000000000000000" pitchFamily="2" charset="2"/>
              <a:buChar char="§"/>
            </a:pPr>
            <a:r>
              <a:rPr lang="en-US" sz="900">
                <a:solidFill>
                  <a:prstClr val="black"/>
                </a:solidFill>
              </a:rPr>
              <a:t>Existing Machine Learning Model and mapping to Usecase</a:t>
            </a:r>
          </a:p>
          <a:p>
            <a:pPr marL="136525" indent="-136525">
              <a:spcAft>
                <a:spcPts val="100"/>
              </a:spcAft>
              <a:buClr>
                <a:srgbClr val="0070AD"/>
              </a:buClr>
              <a:buFont typeface="Wingdings" panose="05000000000000000000" pitchFamily="2" charset="2"/>
              <a:buChar char="§"/>
            </a:pPr>
            <a:r>
              <a:rPr lang="en-US" sz="900">
                <a:solidFill>
                  <a:prstClr val="black"/>
                </a:solidFill>
              </a:rPr>
              <a:t>Reporting Requirement</a:t>
            </a:r>
          </a:p>
          <a:p>
            <a:pPr marL="136525" indent="-136525">
              <a:spcAft>
                <a:spcPts val="100"/>
              </a:spcAft>
              <a:buClr>
                <a:srgbClr val="0070AD"/>
              </a:buClr>
              <a:buFont typeface="Wingdings" panose="05000000000000000000" pitchFamily="2" charset="2"/>
              <a:buChar char="§"/>
            </a:pPr>
            <a:r>
              <a:rPr lang="en-US" sz="900">
                <a:solidFill>
                  <a:prstClr val="black"/>
                </a:solidFill>
              </a:rPr>
              <a:t>User </a:t>
            </a:r>
            <a:r>
              <a:rPr lang="en-US" sz="900" err="1">
                <a:solidFill>
                  <a:prstClr val="black"/>
                </a:solidFill>
              </a:rPr>
              <a:t>Mgmt</a:t>
            </a:r>
            <a:r>
              <a:rPr lang="en-US" sz="900">
                <a:solidFill>
                  <a:prstClr val="black"/>
                </a:solidFill>
              </a:rPr>
              <a:t> Requirement</a:t>
            </a:r>
          </a:p>
          <a:p>
            <a:pPr marL="136525" indent="-136525">
              <a:spcAft>
                <a:spcPts val="100"/>
              </a:spcAft>
              <a:buClr>
                <a:srgbClr val="0070AD"/>
              </a:buClr>
              <a:buFont typeface="Wingdings" panose="05000000000000000000" pitchFamily="2" charset="2"/>
              <a:buChar char="§"/>
            </a:pPr>
            <a:r>
              <a:rPr lang="en-US" sz="900">
                <a:solidFill>
                  <a:prstClr val="black"/>
                </a:solidFill>
              </a:rPr>
              <a:t>Scheduled Jobs</a:t>
            </a:r>
          </a:p>
          <a:p>
            <a:pPr marL="136525" indent="-136525">
              <a:spcAft>
                <a:spcPts val="100"/>
              </a:spcAft>
              <a:buClr>
                <a:srgbClr val="0070AD"/>
              </a:buClr>
              <a:buFont typeface="Wingdings" panose="05000000000000000000" pitchFamily="2" charset="2"/>
              <a:buChar char="§"/>
            </a:pPr>
            <a:r>
              <a:rPr lang="en-US" sz="900">
                <a:solidFill>
                  <a:prstClr val="black"/>
                </a:solidFill>
              </a:rPr>
              <a:t>User Experience</a:t>
            </a:r>
          </a:p>
          <a:p>
            <a:pPr marL="136525" indent="-136525">
              <a:spcAft>
                <a:spcPts val="100"/>
              </a:spcAft>
              <a:buClr>
                <a:srgbClr val="0070AD"/>
              </a:buClr>
              <a:buFont typeface="Wingdings" panose="05000000000000000000" pitchFamily="2" charset="2"/>
              <a:buChar char="§"/>
            </a:pPr>
            <a:r>
              <a:rPr lang="en-US" sz="900">
                <a:solidFill>
                  <a:prstClr val="black"/>
                </a:solidFill>
              </a:rPr>
              <a:t>Azure Cloud  Infra, Application &amp; DB Architecture &amp; Services Identification with estimated  setup cost</a:t>
            </a:r>
          </a:p>
        </p:txBody>
      </p:sp>
      <p:sp>
        <p:nvSpPr>
          <p:cNvPr id="7" name="TextBox 6">
            <a:extLst>
              <a:ext uri="{FF2B5EF4-FFF2-40B4-BE49-F238E27FC236}">
                <a16:creationId xmlns:a16="http://schemas.microsoft.com/office/drawing/2014/main" id="{1BD6781D-51A8-7F65-6F27-C71130407DE0}"/>
              </a:ext>
            </a:extLst>
          </p:cNvPr>
          <p:cNvSpPr txBox="1"/>
          <p:nvPr/>
        </p:nvSpPr>
        <p:spPr>
          <a:xfrm>
            <a:off x="173560" y="3168953"/>
            <a:ext cx="2142617" cy="1107996"/>
          </a:xfrm>
          <a:prstGeom prst="rect">
            <a:avLst/>
          </a:prstGeom>
          <a:noFill/>
          <a:ln>
            <a:noFill/>
            <a:prstDash val="lgDashDotDot"/>
          </a:ln>
        </p:spPr>
        <p:txBody>
          <a:bodyPr wrap="square" rtlCol="0">
            <a:spAutoFit/>
          </a:bodyPr>
          <a:lstStyle/>
          <a:p>
            <a:pPr algn="ctr"/>
            <a:r>
              <a:rPr lang="en-US" sz="1100" b="1" dirty="0">
                <a:solidFill>
                  <a:srgbClr val="0070AD"/>
                </a:solidFill>
              </a:rPr>
              <a:t>Analysis &amp; Design / Project Plan / Detailed Understanding of Current System / Target System Specifications</a:t>
            </a:r>
            <a:br>
              <a:rPr lang="en-US" sz="1100" b="1" dirty="0">
                <a:solidFill>
                  <a:srgbClr val="0070AD"/>
                </a:solidFill>
              </a:rPr>
            </a:br>
            <a:endParaRPr lang="en-US" sz="1100" i="1" dirty="0">
              <a:solidFill>
                <a:srgbClr val="0070AD"/>
              </a:solidFill>
            </a:endParaRPr>
          </a:p>
        </p:txBody>
      </p:sp>
      <p:grpSp>
        <p:nvGrpSpPr>
          <p:cNvPr id="8" name="Group 7">
            <a:extLst>
              <a:ext uri="{FF2B5EF4-FFF2-40B4-BE49-F238E27FC236}">
                <a16:creationId xmlns:a16="http://schemas.microsoft.com/office/drawing/2014/main" id="{81CD7505-7F0B-13DE-EFD2-AEF8459F8DC8}"/>
              </a:ext>
            </a:extLst>
          </p:cNvPr>
          <p:cNvGrpSpPr/>
          <p:nvPr/>
        </p:nvGrpSpPr>
        <p:grpSpPr>
          <a:xfrm>
            <a:off x="404813" y="1327150"/>
            <a:ext cx="11379200" cy="500374"/>
            <a:chOff x="404813" y="1327150"/>
            <a:chExt cx="11379200" cy="633522"/>
          </a:xfrm>
        </p:grpSpPr>
        <p:sp>
          <p:nvSpPr>
            <p:cNvPr id="9" name="Rectangle 8">
              <a:extLst>
                <a:ext uri="{FF2B5EF4-FFF2-40B4-BE49-F238E27FC236}">
                  <a16:creationId xmlns:a16="http://schemas.microsoft.com/office/drawing/2014/main" id="{E1B25210-A387-D56F-4AE8-B42594A63CD8}"/>
                </a:ext>
              </a:extLst>
            </p:cNvPr>
            <p:cNvSpPr/>
            <p:nvPr/>
          </p:nvSpPr>
          <p:spPr>
            <a:xfrm>
              <a:off x="404813" y="1658920"/>
              <a:ext cx="11379200" cy="301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Governance</a:t>
              </a:r>
            </a:p>
          </p:txBody>
        </p:sp>
        <p:sp>
          <p:nvSpPr>
            <p:cNvPr id="10" name="Rectangle 9">
              <a:extLst>
                <a:ext uri="{FF2B5EF4-FFF2-40B4-BE49-F238E27FC236}">
                  <a16:creationId xmlns:a16="http://schemas.microsoft.com/office/drawing/2014/main" id="{BE590FDA-BEE6-C13E-23FA-09A5F34E9414}"/>
                </a:ext>
              </a:extLst>
            </p:cNvPr>
            <p:cNvSpPr/>
            <p:nvPr/>
          </p:nvSpPr>
          <p:spPr>
            <a:xfrm>
              <a:off x="404813" y="1327150"/>
              <a:ext cx="11379200" cy="3017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ecurity</a:t>
              </a:r>
            </a:p>
          </p:txBody>
        </p:sp>
      </p:grpSp>
      <p:sp>
        <p:nvSpPr>
          <p:cNvPr id="11" name="TextBox 10">
            <a:extLst>
              <a:ext uri="{FF2B5EF4-FFF2-40B4-BE49-F238E27FC236}">
                <a16:creationId xmlns:a16="http://schemas.microsoft.com/office/drawing/2014/main" id="{2F9F1330-EB98-4B10-72F4-08C76D395A2E}"/>
              </a:ext>
            </a:extLst>
          </p:cNvPr>
          <p:cNvSpPr txBox="1"/>
          <p:nvPr/>
        </p:nvSpPr>
        <p:spPr>
          <a:xfrm>
            <a:off x="3854221" y="3168953"/>
            <a:ext cx="5188614" cy="261610"/>
          </a:xfrm>
          <a:prstGeom prst="rect">
            <a:avLst/>
          </a:prstGeom>
          <a:noFill/>
          <a:ln>
            <a:noFill/>
            <a:prstDash val="dashDot"/>
          </a:ln>
        </p:spPr>
        <p:txBody>
          <a:bodyPr wrap="square" rtlCol="0">
            <a:spAutoFit/>
          </a:bodyPr>
          <a:lstStyle/>
          <a:p>
            <a:pPr algn="ctr"/>
            <a:r>
              <a:rPr lang="en-US" sz="1100" b="1">
                <a:solidFill>
                  <a:srgbClr val="0070AD"/>
                </a:solidFill>
              </a:rPr>
              <a:t>Build Target System through Agile / DevOps Approach</a:t>
            </a:r>
          </a:p>
        </p:txBody>
      </p:sp>
      <p:sp>
        <p:nvSpPr>
          <p:cNvPr id="12" name="TextBox 11">
            <a:extLst>
              <a:ext uri="{FF2B5EF4-FFF2-40B4-BE49-F238E27FC236}">
                <a16:creationId xmlns:a16="http://schemas.microsoft.com/office/drawing/2014/main" id="{432E406F-0121-0AA5-1EC5-499D37065D6B}"/>
              </a:ext>
            </a:extLst>
          </p:cNvPr>
          <p:cNvSpPr txBox="1"/>
          <p:nvPr/>
        </p:nvSpPr>
        <p:spPr>
          <a:xfrm>
            <a:off x="10207159" y="3168953"/>
            <a:ext cx="1562587" cy="261610"/>
          </a:xfrm>
          <a:prstGeom prst="rect">
            <a:avLst/>
          </a:prstGeom>
          <a:noFill/>
          <a:ln>
            <a:noFill/>
            <a:prstDash val="dashDot"/>
          </a:ln>
        </p:spPr>
        <p:txBody>
          <a:bodyPr wrap="square" rtlCol="0">
            <a:spAutoFit/>
          </a:bodyPr>
          <a:lstStyle/>
          <a:p>
            <a:pPr algn="ctr"/>
            <a:r>
              <a:rPr lang="en-US" sz="1100" b="1">
                <a:solidFill>
                  <a:srgbClr val="0070AD"/>
                </a:solidFill>
              </a:rPr>
              <a:t>Hypercare</a:t>
            </a:r>
          </a:p>
        </p:txBody>
      </p:sp>
      <p:sp>
        <p:nvSpPr>
          <p:cNvPr id="13" name="Rectangle 12">
            <a:extLst>
              <a:ext uri="{FF2B5EF4-FFF2-40B4-BE49-F238E27FC236}">
                <a16:creationId xmlns:a16="http://schemas.microsoft.com/office/drawing/2014/main" id="{A8F2530E-B5D0-2ECD-80AB-E3C1FCFE7C49}"/>
              </a:ext>
            </a:extLst>
          </p:cNvPr>
          <p:cNvSpPr/>
          <p:nvPr/>
        </p:nvSpPr>
        <p:spPr>
          <a:xfrm>
            <a:off x="2570118" y="4439536"/>
            <a:ext cx="3703312" cy="1446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spAutoFit/>
          </a:bodyPr>
          <a:lstStyle/>
          <a:p>
            <a:pPr marL="182880" indent="-182880">
              <a:spcAft>
                <a:spcPts val="600"/>
              </a:spcAft>
              <a:buClr>
                <a:srgbClr val="0070AD"/>
              </a:buClr>
              <a:buFont typeface="Wingdings" panose="05000000000000000000" pitchFamily="2" charset="2"/>
              <a:buChar char="§"/>
            </a:pPr>
            <a:r>
              <a:rPr lang="en-US" sz="900">
                <a:solidFill>
                  <a:prstClr val="black"/>
                </a:solidFill>
              </a:rPr>
              <a:t>Develop Features and User Stories detailing with acceptance criteria to the specifications of the target system</a:t>
            </a:r>
          </a:p>
          <a:p>
            <a:pPr marL="182880" indent="-182880">
              <a:spcAft>
                <a:spcPts val="600"/>
              </a:spcAft>
              <a:buClr>
                <a:srgbClr val="0070AD"/>
              </a:buClr>
              <a:buFont typeface="Wingdings" panose="05000000000000000000" pitchFamily="2" charset="2"/>
              <a:buChar char="§"/>
            </a:pPr>
            <a:r>
              <a:rPr lang="en-US" sz="900">
                <a:solidFill>
                  <a:prstClr val="black"/>
                </a:solidFill>
              </a:rPr>
              <a:t>Wireframes / UI Mockup  for stories</a:t>
            </a:r>
          </a:p>
          <a:p>
            <a:pPr marL="182880" indent="-182880">
              <a:spcAft>
                <a:spcPts val="600"/>
              </a:spcAft>
              <a:buClr>
                <a:srgbClr val="0070AD"/>
              </a:buClr>
              <a:buFont typeface="Wingdings" panose="05000000000000000000" pitchFamily="2" charset="2"/>
              <a:buChar char="§"/>
            </a:pPr>
            <a:r>
              <a:rPr lang="en-US" sz="900">
                <a:solidFill>
                  <a:prstClr val="black"/>
                </a:solidFill>
              </a:rPr>
              <a:t>Detailed DB Modeling and Creation of DB Objects</a:t>
            </a:r>
          </a:p>
          <a:p>
            <a:pPr marL="182880" indent="-182880">
              <a:spcAft>
                <a:spcPts val="600"/>
              </a:spcAft>
              <a:buClr>
                <a:srgbClr val="0070AD"/>
              </a:buClr>
              <a:buFont typeface="Wingdings" panose="05000000000000000000" pitchFamily="2" charset="2"/>
              <a:buChar char="§"/>
            </a:pPr>
            <a:r>
              <a:rPr lang="en-US" sz="900">
                <a:solidFill>
                  <a:prstClr val="black"/>
                </a:solidFill>
              </a:rPr>
              <a:t>Low Level design for User Interface, Microservices &amp; DB</a:t>
            </a:r>
          </a:p>
          <a:p>
            <a:pPr marL="182880" indent="-182880">
              <a:spcAft>
                <a:spcPts val="600"/>
              </a:spcAft>
              <a:buClr>
                <a:srgbClr val="0070AD"/>
              </a:buClr>
              <a:buFont typeface="Wingdings" panose="05000000000000000000" pitchFamily="2" charset="2"/>
              <a:buChar char="§"/>
            </a:pPr>
            <a:r>
              <a:rPr lang="en-US" sz="900">
                <a:solidFill>
                  <a:prstClr val="black"/>
                </a:solidFill>
              </a:rPr>
              <a:t>OpenAI and NLP Design</a:t>
            </a:r>
          </a:p>
          <a:p>
            <a:pPr marL="182880" indent="-182880">
              <a:spcAft>
                <a:spcPts val="600"/>
              </a:spcAft>
              <a:buClr>
                <a:srgbClr val="0070AD"/>
              </a:buClr>
              <a:buFont typeface="Wingdings" panose="05000000000000000000" pitchFamily="2" charset="2"/>
              <a:buChar char="§"/>
            </a:pPr>
            <a:endParaRPr lang="en-US" sz="900">
              <a:solidFill>
                <a:prstClr val="black"/>
              </a:solidFill>
            </a:endParaRPr>
          </a:p>
        </p:txBody>
      </p:sp>
      <p:sp>
        <p:nvSpPr>
          <p:cNvPr id="14" name="Rectangle 13">
            <a:extLst>
              <a:ext uri="{FF2B5EF4-FFF2-40B4-BE49-F238E27FC236}">
                <a16:creationId xmlns:a16="http://schemas.microsoft.com/office/drawing/2014/main" id="{CD0A6B3E-8E73-D27D-355F-078CBF23FFBD}"/>
              </a:ext>
            </a:extLst>
          </p:cNvPr>
          <p:cNvSpPr/>
          <p:nvPr/>
        </p:nvSpPr>
        <p:spPr>
          <a:xfrm>
            <a:off x="6497849" y="4439536"/>
            <a:ext cx="3405362" cy="1523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spAutoFit/>
          </a:bodyPr>
          <a:lstStyle/>
          <a:p>
            <a:pPr marL="182880" indent="-182880">
              <a:spcAft>
                <a:spcPts val="600"/>
              </a:spcAft>
              <a:buClr>
                <a:srgbClr val="0070AD"/>
              </a:buClr>
              <a:buFont typeface="Wingdings" panose="05000000000000000000" pitchFamily="2" charset="2"/>
              <a:buChar char="§"/>
            </a:pPr>
            <a:r>
              <a:rPr lang="en-US" sz="900">
                <a:solidFill>
                  <a:prstClr val="black"/>
                </a:solidFill>
              </a:rPr>
              <a:t>UI Application Development &amp; Testing</a:t>
            </a:r>
          </a:p>
          <a:p>
            <a:pPr marL="182880" indent="-182880">
              <a:spcAft>
                <a:spcPts val="600"/>
              </a:spcAft>
              <a:buClr>
                <a:srgbClr val="0070AD"/>
              </a:buClr>
              <a:buFont typeface="Wingdings" panose="05000000000000000000" pitchFamily="2" charset="2"/>
              <a:buChar char="§"/>
            </a:pPr>
            <a:r>
              <a:rPr lang="en-US" sz="900">
                <a:solidFill>
                  <a:prstClr val="black"/>
                </a:solidFill>
              </a:rPr>
              <a:t>Microservice Development &amp; Testing</a:t>
            </a:r>
          </a:p>
          <a:p>
            <a:pPr marL="182880" indent="-182880">
              <a:spcAft>
                <a:spcPts val="600"/>
              </a:spcAft>
              <a:buClr>
                <a:srgbClr val="0070AD"/>
              </a:buClr>
              <a:buFont typeface="Wingdings" panose="05000000000000000000" pitchFamily="2" charset="2"/>
              <a:buChar char="§"/>
            </a:pPr>
            <a:r>
              <a:rPr lang="en-US" sz="900">
                <a:solidFill>
                  <a:prstClr val="black"/>
                </a:solidFill>
              </a:rPr>
              <a:t>CICD Automation</a:t>
            </a:r>
          </a:p>
          <a:p>
            <a:pPr marL="182880" indent="-182880">
              <a:spcAft>
                <a:spcPts val="600"/>
              </a:spcAft>
              <a:buClr>
                <a:srgbClr val="0070AD"/>
              </a:buClr>
              <a:buFont typeface="Wingdings" panose="05000000000000000000" pitchFamily="2" charset="2"/>
              <a:buChar char="§"/>
            </a:pPr>
            <a:r>
              <a:rPr lang="en-US" sz="900">
                <a:solidFill>
                  <a:prstClr val="black"/>
                </a:solidFill>
              </a:rPr>
              <a:t>Data Cleanup and Scheduled Load to App DB</a:t>
            </a:r>
          </a:p>
          <a:p>
            <a:pPr marL="182880" indent="-182880">
              <a:spcAft>
                <a:spcPts val="600"/>
              </a:spcAft>
              <a:buClr>
                <a:srgbClr val="0070AD"/>
              </a:buClr>
              <a:buFont typeface="Wingdings" panose="05000000000000000000" pitchFamily="2" charset="2"/>
              <a:buChar char="§"/>
            </a:pPr>
            <a:r>
              <a:rPr lang="en-US" sz="900">
                <a:solidFill>
                  <a:prstClr val="black"/>
                </a:solidFill>
              </a:rPr>
              <a:t>Validation of application against Legacy application</a:t>
            </a:r>
          </a:p>
          <a:p>
            <a:pPr marL="182880" indent="-182880">
              <a:spcAft>
                <a:spcPts val="600"/>
              </a:spcAft>
              <a:buClr>
                <a:srgbClr val="0070AD"/>
              </a:buClr>
              <a:buFont typeface="Wingdings" panose="05000000000000000000" pitchFamily="2" charset="2"/>
              <a:buChar char="§"/>
            </a:pPr>
            <a:r>
              <a:rPr lang="en-US" sz="900">
                <a:solidFill>
                  <a:prstClr val="black"/>
                </a:solidFill>
              </a:rPr>
              <a:t>Knowledge Transition &amp; User Training</a:t>
            </a:r>
          </a:p>
          <a:p>
            <a:pPr marL="182880" indent="-182880">
              <a:spcAft>
                <a:spcPts val="600"/>
              </a:spcAft>
              <a:buClr>
                <a:srgbClr val="0070AD"/>
              </a:buClr>
              <a:buFont typeface="Wingdings" panose="05000000000000000000" pitchFamily="2" charset="2"/>
              <a:buChar char="§"/>
            </a:pPr>
            <a:r>
              <a:rPr lang="en-US" sz="900">
                <a:solidFill>
                  <a:prstClr val="black"/>
                </a:solidFill>
              </a:rPr>
              <a:t>Application &amp; Documentation handover</a:t>
            </a:r>
          </a:p>
        </p:txBody>
      </p:sp>
      <p:grpSp>
        <p:nvGrpSpPr>
          <p:cNvPr id="15" name="Group 14">
            <a:extLst>
              <a:ext uri="{FF2B5EF4-FFF2-40B4-BE49-F238E27FC236}">
                <a16:creationId xmlns:a16="http://schemas.microsoft.com/office/drawing/2014/main" id="{E98387E5-546E-81B3-B95C-1DE227C0A69B}"/>
              </a:ext>
            </a:extLst>
          </p:cNvPr>
          <p:cNvGrpSpPr/>
          <p:nvPr/>
        </p:nvGrpSpPr>
        <p:grpSpPr>
          <a:xfrm>
            <a:off x="2399169" y="1875624"/>
            <a:ext cx="1292885" cy="1284497"/>
            <a:chOff x="2399169" y="2039268"/>
            <a:chExt cx="1292885" cy="1284497"/>
          </a:xfrm>
        </p:grpSpPr>
        <p:sp>
          <p:nvSpPr>
            <p:cNvPr id="16" name="Freeform: Shape 15">
              <a:extLst>
                <a:ext uri="{FF2B5EF4-FFF2-40B4-BE49-F238E27FC236}">
                  <a16:creationId xmlns:a16="http://schemas.microsoft.com/office/drawing/2014/main" id="{08065253-D216-025B-A43E-EF5B880EE004}"/>
                </a:ext>
              </a:extLst>
            </p:cNvPr>
            <p:cNvSpPr/>
            <p:nvPr/>
          </p:nvSpPr>
          <p:spPr>
            <a:xfrm rot="8055561" flipH="1">
              <a:off x="2403363" y="2035074"/>
              <a:ext cx="1284497" cy="1292885"/>
            </a:xfrm>
            <a:custGeom>
              <a:avLst/>
              <a:gdLst>
                <a:gd name="connsiteX0" fmla="*/ 1093585 w 1284497"/>
                <a:gd name="connsiteY0" fmla="*/ 1101514 h 1292885"/>
                <a:gd name="connsiteX1" fmla="*/ 1282413 w 1284497"/>
                <a:gd name="connsiteY1" fmla="*/ 639505 h 1292885"/>
                <a:gd name="connsiteX2" fmla="*/ 1282413 w 1284497"/>
                <a:gd name="connsiteY2" fmla="*/ 4141 h 1292885"/>
                <a:gd name="connsiteX3" fmla="*/ 1284497 w 1284497"/>
                <a:gd name="connsiteY3" fmla="*/ 2031 h 1292885"/>
                <a:gd name="connsiteX4" fmla="*/ 1282413 w 1284497"/>
                <a:gd name="connsiteY4" fmla="*/ 2058 h 1292885"/>
                <a:gd name="connsiteX5" fmla="*/ 1282413 w 1284497"/>
                <a:gd name="connsiteY5" fmla="*/ 0 h 1292885"/>
                <a:gd name="connsiteX6" fmla="*/ 1280357 w 1284497"/>
                <a:gd name="connsiteY6" fmla="*/ 2084 h 1292885"/>
                <a:gd name="connsiteX7" fmla="*/ 645046 w 1284497"/>
                <a:gd name="connsiteY7" fmla="*/ 10297 h 1292885"/>
                <a:gd name="connsiteX8" fmla="*/ 54 w 1284497"/>
                <a:gd name="connsiteY8" fmla="*/ 663386 h 1292885"/>
                <a:gd name="connsiteX9" fmla="*/ 116291 w 1284497"/>
                <a:gd name="connsiteY9" fmla="*/ 1022369 h 1292885"/>
                <a:gd name="connsiteX10" fmla="*/ 189491 w 1284497"/>
                <a:gd name="connsiteY10" fmla="*/ 1107643 h 1292885"/>
                <a:gd name="connsiteX11" fmla="*/ 189349 w 1284497"/>
                <a:gd name="connsiteY11" fmla="*/ 1107787 h 1292885"/>
                <a:gd name="connsiteX12" fmla="*/ 190286 w 1284497"/>
                <a:gd name="connsiteY12" fmla="*/ 1108571 h 1292885"/>
                <a:gd name="connsiteX13" fmla="*/ 190932 w 1284497"/>
                <a:gd name="connsiteY13" fmla="*/ 1109323 h 1292885"/>
                <a:gd name="connsiteX14" fmla="*/ 191047 w 1284497"/>
                <a:gd name="connsiteY14" fmla="*/ 1109207 h 1292885"/>
                <a:gd name="connsiteX15" fmla="*/ 277260 w 1284497"/>
                <a:gd name="connsiteY15" fmla="*/ 1181297 h 1292885"/>
                <a:gd name="connsiteX16" fmla="*/ 637716 w 1284497"/>
                <a:gd name="connsiteY16" fmla="*/ 1292885 h 1292885"/>
                <a:gd name="connsiteX17" fmla="*/ 1093585 w 1284497"/>
                <a:gd name="connsiteY17" fmla="*/ 1101514 h 129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84497" h="1292885">
                  <a:moveTo>
                    <a:pt x="1093585" y="1101514"/>
                  </a:moveTo>
                  <a:cubicBezTo>
                    <a:pt x="1210253" y="983276"/>
                    <a:pt x="1282413" y="819930"/>
                    <a:pt x="1282413" y="639505"/>
                  </a:cubicBezTo>
                  <a:lnTo>
                    <a:pt x="1282413" y="4141"/>
                  </a:lnTo>
                  <a:lnTo>
                    <a:pt x="1284497" y="2031"/>
                  </a:lnTo>
                  <a:lnTo>
                    <a:pt x="1282413" y="2058"/>
                  </a:lnTo>
                  <a:lnTo>
                    <a:pt x="1282413" y="0"/>
                  </a:lnTo>
                  <a:lnTo>
                    <a:pt x="1280357" y="2084"/>
                  </a:lnTo>
                  <a:lnTo>
                    <a:pt x="645046" y="10297"/>
                  </a:lnTo>
                  <a:cubicBezTo>
                    <a:pt x="284224" y="14961"/>
                    <a:pt x="-4549" y="307360"/>
                    <a:pt x="54" y="663386"/>
                  </a:cubicBezTo>
                  <a:cubicBezTo>
                    <a:pt x="1780" y="796895"/>
                    <a:pt x="44516" y="920394"/>
                    <a:pt x="116291" y="1022369"/>
                  </a:cubicBezTo>
                  <a:lnTo>
                    <a:pt x="189491" y="1107643"/>
                  </a:lnTo>
                  <a:lnTo>
                    <a:pt x="189349" y="1107787"/>
                  </a:lnTo>
                  <a:lnTo>
                    <a:pt x="190286" y="1108571"/>
                  </a:lnTo>
                  <a:lnTo>
                    <a:pt x="190932" y="1109323"/>
                  </a:lnTo>
                  <a:lnTo>
                    <a:pt x="191047" y="1109207"/>
                  </a:lnTo>
                  <a:lnTo>
                    <a:pt x="277260" y="1181297"/>
                  </a:lnTo>
                  <a:cubicBezTo>
                    <a:pt x="380155" y="1251748"/>
                    <a:pt x="504195" y="1292885"/>
                    <a:pt x="637716" y="1292885"/>
                  </a:cubicBezTo>
                  <a:cubicBezTo>
                    <a:pt x="815744" y="1292885"/>
                    <a:pt x="976918" y="1219753"/>
                    <a:pt x="1093585" y="1101514"/>
                  </a:cubicBez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000000"/>
                </a:solidFill>
              </a:endParaRPr>
            </a:p>
          </p:txBody>
        </p:sp>
        <p:sp>
          <p:nvSpPr>
            <p:cNvPr id="17" name="Oval 16">
              <a:extLst>
                <a:ext uri="{FF2B5EF4-FFF2-40B4-BE49-F238E27FC236}">
                  <a16:creationId xmlns:a16="http://schemas.microsoft.com/office/drawing/2014/main" id="{D466D5A3-2C62-6C02-F542-470172957C58}"/>
                </a:ext>
              </a:extLst>
            </p:cNvPr>
            <p:cNvSpPr/>
            <p:nvPr/>
          </p:nvSpPr>
          <p:spPr>
            <a:xfrm rot="16200000">
              <a:off x="2550306" y="2173653"/>
              <a:ext cx="1002225" cy="10157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860864"/>
                </a:solidFill>
              </a:endParaRPr>
            </a:p>
          </p:txBody>
        </p:sp>
      </p:grpSp>
      <p:sp>
        <p:nvSpPr>
          <p:cNvPr id="18" name="TextBox 17">
            <a:extLst>
              <a:ext uri="{FF2B5EF4-FFF2-40B4-BE49-F238E27FC236}">
                <a16:creationId xmlns:a16="http://schemas.microsoft.com/office/drawing/2014/main" id="{3884CA88-258D-EF58-1A6A-C22D76A10D1A}"/>
              </a:ext>
            </a:extLst>
          </p:cNvPr>
          <p:cNvSpPr txBox="1"/>
          <p:nvPr/>
        </p:nvSpPr>
        <p:spPr>
          <a:xfrm>
            <a:off x="2590640" y="2551484"/>
            <a:ext cx="919271" cy="400110"/>
          </a:xfrm>
          <a:prstGeom prst="rect">
            <a:avLst/>
          </a:prstGeom>
          <a:noFill/>
        </p:spPr>
        <p:txBody>
          <a:bodyPr wrap="square" rtlCol="0">
            <a:spAutoFit/>
          </a:bodyPr>
          <a:lstStyle/>
          <a:p>
            <a:pPr algn="ctr"/>
            <a:r>
              <a:rPr lang="en-US" sz="1000" b="1">
                <a:solidFill>
                  <a:schemeClr val="bg1"/>
                </a:solidFill>
              </a:rPr>
              <a:t>Low Level </a:t>
            </a:r>
            <a:br>
              <a:rPr lang="en-US" sz="1000" b="1">
                <a:solidFill>
                  <a:schemeClr val="bg1"/>
                </a:solidFill>
              </a:rPr>
            </a:br>
            <a:r>
              <a:rPr lang="en-US" sz="1000" b="1">
                <a:solidFill>
                  <a:schemeClr val="bg1"/>
                </a:solidFill>
              </a:rPr>
              <a:t>Design</a:t>
            </a:r>
          </a:p>
        </p:txBody>
      </p:sp>
      <p:sp>
        <p:nvSpPr>
          <p:cNvPr id="19" name="Rectangle 18">
            <a:extLst>
              <a:ext uri="{FF2B5EF4-FFF2-40B4-BE49-F238E27FC236}">
                <a16:creationId xmlns:a16="http://schemas.microsoft.com/office/drawing/2014/main" id="{BA47E55D-38DA-39F4-7E3D-97E301E0C717}"/>
              </a:ext>
            </a:extLst>
          </p:cNvPr>
          <p:cNvSpPr/>
          <p:nvPr/>
        </p:nvSpPr>
        <p:spPr>
          <a:xfrm>
            <a:off x="10249223" y="4215874"/>
            <a:ext cx="1542065" cy="224470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82880">
              <a:spcAft>
                <a:spcPts val="300"/>
              </a:spcAft>
              <a:buClr>
                <a:srgbClr val="0070AD"/>
              </a:buClr>
              <a:buFont typeface="Wingdings" panose="05000000000000000000" pitchFamily="2" charset="2"/>
              <a:buChar char="§"/>
            </a:pPr>
            <a:r>
              <a:rPr lang="en-IN" sz="900">
                <a:solidFill>
                  <a:prstClr val="black"/>
                </a:solidFill>
              </a:rPr>
              <a:t>support Go Live</a:t>
            </a:r>
            <a:endParaRPr lang="en-US" sz="900">
              <a:solidFill>
                <a:prstClr val="black"/>
              </a:solidFill>
            </a:endParaRPr>
          </a:p>
        </p:txBody>
      </p:sp>
      <p:sp>
        <p:nvSpPr>
          <p:cNvPr id="20" name="Freeform: Shape 19">
            <a:extLst>
              <a:ext uri="{FF2B5EF4-FFF2-40B4-BE49-F238E27FC236}">
                <a16:creationId xmlns:a16="http://schemas.microsoft.com/office/drawing/2014/main" id="{AC0A0738-310B-7E38-483A-DB9BD45DF332}"/>
              </a:ext>
            </a:extLst>
          </p:cNvPr>
          <p:cNvSpPr/>
          <p:nvPr/>
        </p:nvSpPr>
        <p:spPr>
          <a:xfrm rot="8055561" flipH="1">
            <a:off x="687740" y="1871430"/>
            <a:ext cx="1284497" cy="1292885"/>
          </a:xfrm>
          <a:custGeom>
            <a:avLst/>
            <a:gdLst>
              <a:gd name="connsiteX0" fmla="*/ 1093585 w 1284497"/>
              <a:gd name="connsiteY0" fmla="*/ 1101514 h 1292885"/>
              <a:gd name="connsiteX1" fmla="*/ 1282413 w 1284497"/>
              <a:gd name="connsiteY1" fmla="*/ 639505 h 1292885"/>
              <a:gd name="connsiteX2" fmla="*/ 1282413 w 1284497"/>
              <a:gd name="connsiteY2" fmla="*/ 4141 h 1292885"/>
              <a:gd name="connsiteX3" fmla="*/ 1284497 w 1284497"/>
              <a:gd name="connsiteY3" fmla="*/ 2031 h 1292885"/>
              <a:gd name="connsiteX4" fmla="*/ 1282413 w 1284497"/>
              <a:gd name="connsiteY4" fmla="*/ 2058 h 1292885"/>
              <a:gd name="connsiteX5" fmla="*/ 1282413 w 1284497"/>
              <a:gd name="connsiteY5" fmla="*/ 0 h 1292885"/>
              <a:gd name="connsiteX6" fmla="*/ 1280357 w 1284497"/>
              <a:gd name="connsiteY6" fmla="*/ 2084 h 1292885"/>
              <a:gd name="connsiteX7" fmla="*/ 645046 w 1284497"/>
              <a:gd name="connsiteY7" fmla="*/ 10297 h 1292885"/>
              <a:gd name="connsiteX8" fmla="*/ 54 w 1284497"/>
              <a:gd name="connsiteY8" fmla="*/ 663386 h 1292885"/>
              <a:gd name="connsiteX9" fmla="*/ 116291 w 1284497"/>
              <a:gd name="connsiteY9" fmla="*/ 1022369 h 1292885"/>
              <a:gd name="connsiteX10" fmla="*/ 189491 w 1284497"/>
              <a:gd name="connsiteY10" fmla="*/ 1107643 h 1292885"/>
              <a:gd name="connsiteX11" fmla="*/ 189349 w 1284497"/>
              <a:gd name="connsiteY11" fmla="*/ 1107787 h 1292885"/>
              <a:gd name="connsiteX12" fmla="*/ 190286 w 1284497"/>
              <a:gd name="connsiteY12" fmla="*/ 1108571 h 1292885"/>
              <a:gd name="connsiteX13" fmla="*/ 190932 w 1284497"/>
              <a:gd name="connsiteY13" fmla="*/ 1109323 h 1292885"/>
              <a:gd name="connsiteX14" fmla="*/ 191047 w 1284497"/>
              <a:gd name="connsiteY14" fmla="*/ 1109207 h 1292885"/>
              <a:gd name="connsiteX15" fmla="*/ 277260 w 1284497"/>
              <a:gd name="connsiteY15" fmla="*/ 1181297 h 1292885"/>
              <a:gd name="connsiteX16" fmla="*/ 637716 w 1284497"/>
              <a:gd name="connsiteY16" fmla="*/ 1292885 h 1292885"/>
              <a:gd name="connsiteX17" fmla="*/ 1093585 w 1284497"/>
              <a:gd name="connsiteY17" fmla="*/ 1101514 h 129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84497" h="1292885">
                <a:moveTo>
                  <a:pt x="1093585" y="1101514"/>
                </a:moveTo>
                <a:cubicBezTo>
                  <a:pt x="1210253" y="983276"/>
                  <a:pt x="1282413" y="819930"/>
                  <a:pt x="1282413" y="639505"/>
                </a:cubicBezTo>
                <a:lnTo>
                  <a:pt x="1282413" y="4141"/>
                </a:lnTo>
                <a:lnTo>
                  <a:pt x="1284497" y="2031"/>
                </a:lnTo>
                <a:lnTo>
                  <a:pt x="1282413" y="2058"/>
                </a:lnTo>
                <a:lnTo>
                  <a:pt x="1282413" y="0"/>
                </a:lnTo>
                <a:lnTo>
                  <a:pt x="1280357" y="2084"/>
                </a:lnTo>
                <a:lnTo>
                  <a:pt x="645046" y="10297"/>
                </a:lnTo>
                <a:cubicBezTo>
                  <a:pt x="284224" y="14961"/>
                  <a:pt x="-4549" y="307360"/>
                  <a:pt x="54" y="663386"/>
                </a:cubicBezTo>
                <a:cubicBezTo>
                  <a:pt x="1780" y="796895"/>
                  <a:pt x="44516" y="920394"/>
                  <a:pt x="116291" y="1022369"/>
                </a:cubicBezTo>
                <a:lnTo>
                  <a:pt x="189491" y="1107643"/>
                </a:lnTo>
                <a:lnTo>
                  <a:pt x="189349" y="1107787"/>
                </a:lnTo>
                <a:lnTo>
                  <a:pt x="190286" y="1108571"/>
                </a:lnTo>
                <a:lnTo>
                  <a:pt x="190932" y="1109323"/>
                </a:lnTo>
                <a:lnTo>
                  <a:pt x="191047" y="1109207"/>
                </a:lnTo>
                <a:lnTo>
                  <a:pt x="277260" y="1181297"/>
                </a:lnTo>
                <a:cubicBezTo>
                  <a:pt x="380155" y="1251748"/>
                  <a:pt x="504195" y="1292885"/>
                  <a:pt x="637716" y="1292885"/>
                </a:cubicBezTo>
                <a:cubicBezTo>
                  <a:pt x="815744" y="1292885"/>
                  <a:pt x="976918" y="1219753"/>
                  <a:pt x="1093585" y="1101514"/>
                </a:cubicBez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000000"/>
              </a:solidFill>
            </a:endParaRPr>
          </a:p>
        </p:txBody>
      </p:sp>
      <p:sp>
        <p:nvSpPr>
          <p:cNvPr id="21" name="Oval 20">
            <a:extLst>
              <a:ext uri="{FF2B5EF4-FFF2-40B4-BE49-F238E27FC236}">
                <a16:creationId xmlns:a16="http://schemas.microsoft.com/office/drawing/2014/main" id="{718E09FF-2454-49DC-D78A-C1DC413145E8}"/>
              </a:ext>
            </a:extLst>
          </p:cNvPr>
          <p:cNvSpPr/>
          <p:nvPr/>
        </p:nvSpPr>
        <p:spPr>
          <a:xfrm rot="16200000">
            <a:off x="834683" y="2010009"/>
            <a:ext cx="1002225" cy="10157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860864"/>
              </a:solidFill>
            </a:endParaRPr>
          </a:p>
        </p:txBody>
      </p:sp>
      <p:sp>
        <p:nvSpPr>
          <p:cNvPr id="22" name="TextBox 21">
            <a:extLst>
              <a:ext uri="{FF2B5EF4-FFF2-40B4-BE49-F238E27FC236}">
                <a16:creationId xmlns:a16="http://schemas.microsoft.com/office/drawing/2014/main" id="{64589896-7525-9C12-CC9B-397375C2690C}"/>
              </a:ext>
            </a:extLst>
          </p:cNvPr>
          <p:cNvSpPr txBox="1"/>
          <p:nvPr/>
        </p:nvSpPr>
        <p:spPr>
          <a:xfrm>
            <a:off x="636409" y="2540291"/>
            <a:ext cx="1332417" cy="553998"/>
          </a:xfrm>
          <a:prstGeom prst="rect">
            <a:avLst/>
          </a:prstGeom>
          <a:noFill/>
        </p:spPr>
        <p:txBody>
          <a:bodyPr wrap="square" rtlCol="0">
            <a:spAutoFit/>
          </a:bodyPr>
          <a:lstStyle/>
          <a:p>
            <a:pPr algn="ctr"/>
            <a:r>
              <a:rPr lang="en-US" sz="1000" b="1">
                <a:solidFill>
                  <a:schemeClr val="bg1"/>
                </a:solidFill>
              </a:rPr>
              <a:t>Analysis &amp; HL Design</a:t>
            </a:r>
          </a:p>
          <a:p>
            <a:pPr algn="ctr"/>
            <a:endParaRPr lang="en-US" sz="1000" b="1">
              <a:solidFill>
                <a:schemeClr val="bg1"/>
              </a:solidFill>
            </a:endParaRPr>
          </a:p>
        </p:txBody>
      </p:sp>
      <p:grpSp>
        <p:nvGrpSpPr>
          <p:cNvPr id="23" name="Group 22">
            <a:extLst>
              <a:ext uri="{FF2B5EF4-FFF2-40B4-BE49-F238E27FC236}">
                <a16:creationId xmlns:a16="http://schemas.microsoft.com/office/drawing/2014/main" id="{48F0A811-4A28-6BD3-47A1-4A63E74B115B}"/>
              </a:ext>
            </a:extLst>
          </p:cNvPr>
          <p:cNvGrpSpPr/>
          <p:nvPr/>
        </p:nvGrpSpPr>
        <p:grpSpPr>
          <a:xfrm>
            <a:off x="3961755" y="1870637"/>
            <a:ext cx="1292885" cy="1284497"/>
            <a:chOff x="2399169" y="2039268"/>
            <a:chExt cx="1292885" cy="1284497"/>
          </a:xfrm>
        </p:grpSpPr>
        <p:sp>
          <p:nvSpPr>
            <p:cNvPr id="24" name="Freeform: Shape 23">
              <a:extLst>
                <a:ext uri="{FF2B5EF4-FFF2-40B4-BE49-F238E27FC236}">
                  <a16:creationId xmlns:a16="http://schemas.microsoft.com/office/drawing/2014/main" id="{8F934882-2713-AC4D-50DE-11D2BC3671EA}"/>
                </a:ext>
              </a:extLst>
            </p:cNvPr>
            <p:cNvSpPr/>
            <p:nvPr/>
          </p:nvSpPr>
          <p:spPr>
            <a:xfrm rot="8055561" flipH="1">
              <a:off x="2403363" y="2035074"/>
              <a:ext cx="1284497" cy="1292885"/>
            </a:xfrm>
            <a:custGeom>
              <a:avLst/>
              <a:gdLst>
                <a:gd name="connsiteX0" fmla="*/ 1093585 w 1284497"/>
                <a:gd name="connsiteY0" fmla="*/ 1101514 h 1292885"/>
                <a:gd name="connsiteX1" fmla="*/ 1282413 w 1284497"/>
                <a:gd name="connsiteY1" fmla="*/ 639505 h 1292885"/>
                <a:gd name="connsiteX2" fmla="*/ 1282413 w 1284497"/>
                <a:gd name="connsiteY2" fmla="*/ 4141 h 1292885"/>
                <a:gd name="connsiteX3" fmla="*/ 1284497 w 1284497"/>
                <a:gd name="connsiteY3" fmla="*/ 2031 h 1292885"/>
                <a:gd name="connsiteX4" fmla="*/ 1282413 w 1284497"/>
                <a:gd name="connsiteY4" fmla="*/ 2058 h 1292885"/>
                <a:gd name="connsiteX5" fmla="*/ 1282413 w 1284497"/>
                <a:gd name="connsiteY5" fmla="*/ 0 h 1292885"/>
                <a:gd name="connsiteX6" fmla="*/ 1280357 w 1284497"/>
                <a:gd name="connsiteY6" fmla="*/ 2084 h 1292885"/>
                <a:gd name="connsiteX7" fmla="*/ 645046 w 1284497"/>
                <a:gd name="connsiteY7" fmla="*/ 10297 h 1292885"/>
                <a:gd name="connsiteX8" fmla="*/ 54 w 1284497"/>
                <a:gd name="connsiteY8" fmla="*/ 663386 h 1292885"/>
                <a:gd name="connsiteX9" fmla="*/ 116291 w 1284497"/>
                <a:gd name="connsiteY9" fmla="*/ 1022369 h 1292885"/>
                <a:gd name="connsiteX10" fmla="*/ 189491 w 1284497"/>
                <a:gd name="connsiteY10" fmla="*/ 1107643 h 1292885"/>
                <a:gd name="connsiteX11" fmla="*/ 189349 w 1284497"/>
                <a:gd name="connsiteY11" fmla="*/ 1107787 h 1292885"/>
                <a:gd name="connsiteX12" fmla="*/ 190286 w 1284497"/>
                <a:gd name="connsiteY12" fmla="*/ 1108571 h 1292885"/>
                <a:gd name="connsiteX13" fmla="*/ 190932 w 1284497"/>
                <a:gd name="connsiteY13" fmla="*/ 1109323 h 1292885"/>
                <a:gd name="connsiteX14" fmla="*/ 191047 w 1284497"/>
                <a:gd name="connsiteY14" fmla="*/ 1109207 h 1292885"/>
                <a:gd name="connsiteX15" fmla="*/ 277260 w 1284497"/>
                <a:gd name="connsiteY15" fmla="*/ 1181297 h 1292885"/>
                <a:gd name="connsiteX16" fmla="*/ 637716 w 1284497"/>
                <a:gd name="connsiteY16" fmla="*/ 1292885 h 1292885"/>
                <a:gd name="connsiteX17" fmla="*/ 1093585 w 1284497"/>
                <a:gd name="connsiteY17" fmla="*/ 1101514 h 129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84497" h="1292885">
                  <a:moveTo>
                    <a:pt x="1093585" y="1101514"/>
                  </a:moveTo>
                  <a:cubicBezTo>
                    <a:pt x="1210253" y="983276"/>
                    <a:pt x="1282413" y="819930"/>
                    <a:pt x="1282413" y="639505"/>
                  </a:cubicBezTo>
                  <a:lnTo>
                    <a:pt x="1282413" y="4141"/>
                  </a:lnTo>
                  <a:lnTo>
                    <a:pt x="1284497" y="2031"/>
                  </a:lnTo>
                  <a:lnTo>
                    <a:pt x="1282413" y="2058"/>
                  </a:lnTo>
                  <a:lnTo>
                    <a:pt x="1282413" y="0"/>
                  </a:lnTo>
                  <a:lnTo>
                    <a:pt x="1280357" y="2084"/>
                  </a:lnTo>
                  <a:lnTo>
                    <a:pt x="645046" y="10297"/>
                  </a:lnTo>
                  <a:cubicBezTo>
                    <a:pt x="284224" y="14961"/>
                    <a:pt x="-4549" y="307360"/>
                    <a:pt x="54" y="663386"/>
                  </a:cubicBezTo>
                  <a:cubicBezTo>
                    <a:pt x="1780" y="796895"/>
                    <a:pt x="44516" y="920394"/>
                    <a:pt x="116291" y="1022369"/>
                  </a:cubicBezTo>
                  <a:lnTo>
                    <a:pt x="189491" y="1107643"/>
                  </a:lnTo>
                  <a:lnTo>
                    <a:pt x="189349" y="1107787"/>
                  </a:lnTo>
                  <a:lnTo>
                    <a:pt x="190286" y="1108571"/>
                  </a:lnTo>
                  <a:lnTo>
                    <a:pt x="190932" y="1109323"/>
                  </a:lnTo>
                  <a:lnTo>
                    <a:pt x="191047" y="1109207"/>
                  </a:lnTo>
                  <a:lnTo>
                    <a:pt x="277260" y="1181297"/>
                  </a:lnTo>
                  <a:cubicBezTo>
                    <a:pt x="380155" y="1251748"/>
                    <a:pt x="504195" y="1292885"/>
                    <a:pt x="637716" y="1292885"/>
                  </a:cubicBezTo>
                  <a:cubicBezTo>
                    <a:pt x="815744" y="1292885"/>
                    <a:pt x="976918" y="1219753"/>
                    <a:pt x="1093585" y="1101514"/>
                  </a:cubicBez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000000"/>
                </a:solidFill>
              </a:endParaRPr>
            </a:p>
          </p:txBody>
        </p:sp>
        <p:sp>
          <p:nvSpPr>
            <p:cNvPr id="25" name="Oval 24">
              <a:extLst>
                <a:ext uri="{FF2B5EF4-FFF2-40B4-BE49-F238E27FC236}">
                  <a16:creationId xmlns:a16="http://schemas.microsoft.com/office/drawing/2014/main" id="{0C123815-F1B6-FF87-1B3F-F6E01857D207}"/>
                </a:ext>
              </a:extLst>
            </p:cNvPr>
            <p:cNvSpPr/>
            <p:nvPr/>
          </p:nvSpPr>
          <p:spPr>
            <a:xfrm rot="16200000">
              <a:off x="2550306" y="2173653"/>
              <a:ext cx="1002225" cy="10157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860864"/>
                </a:solidFill>
              </a:endParaRPr>
            </a:p>
          </p:txBody>
        </p:sp>
      </p:grpSp>
      <p:grpSp>
        <p:nvGrpSpPr>
          <p:cNvPr id="26" name="Group 25">
            <a:extLst>
              <a:ext uri="{FF2B5EF4-FFF2-40B4-BE49-F238E27FC236}">
                <a16:creationId xmlns:a16="http://schemas.microsoft.com/office/drawing/2014/main" id="{F02435CB-0705-EBEE-70BA-74887CF83A64}"/>
              </a:ext>
            </a:extLst>
          </p:cNvPr>
          <p:cNvGrpSpPr/>
          <p:nvPr/>
        </p:nvGrpSpPr>
        <p:grpSpPr>
          <a:xfrm>
            <a:off x="5524341" y="1865650"/>
            <a:ext cx="1292885" cy="1284497"/>
            <a:chOff x="2399169" y="2039268"/>
            <a:chExt cx="1292885" cy="1284497"/>
          </a:xfrm>
        </p:grpSpPr>
        <p:sp>
          <p:nvSpPr>
            <p:cNvPr id="27" name="Freeform: Shape 26">
              <a:extLst>
                <a:ext uri="{FF2B5EF4-FFF2-40B4-BE49-F238E27FC236}">
                  <a16:creationId xmlns:a16="http://schemas.microsoft.com/office/drawing/2014/main" id="{9E39B8C8-48A4-BDDB-845F-3B13C46D67A0}"/>
                </a:ext>
              </a:extLst>
            </p:cNvPr>
            <p:cNvSpPr/>
            <p:nvPr/>
          </p:nvSpPr>
          <p:spPr>
            <a:xfrm rot="8055561" flipH="1">
              <a:off x="2403363" y="2035074"/>
              <a:ext cx="1284497" cy="1292885"/>
            </a:xfrm>
            <a:custGeom>
              <a:avLst/>
              <a:gdLst>
                <a:gd name="connsiteX0" fmla="*/ 1093585 w 1284497"/>
                <a:gd name="connsiteY0" fmla="*/ 1101514 h 1292885"/>
                <a:gd name="connsiteX1" fmla="*/ 1282413 w 1284497"/>
                <a:gd name="connsiteY1" fmla="*/ 639505 h 1292885"/>
                <a:gd name="connsiteX2" fmla="*/ 1282413 w 1284497"/>
                <a:gd name="connsiteY2" fmla="*/ 4141 h 1292885"/>
                <a:gd name="connsiteX3" fmla="*/ 1284497 w 1284497"/>
                <a:gd name="connsiteY3" fmla="*/ 2031 h 1292885"/>
                <a:gd name="connsiteX4" fmla="*/ 1282413 w 1284497"/>
                <a:gd name="connsiteY4" fmla="*/ 2058 h 1292885"/>
                <a:gd name="connsiteX5" fmla="*/ 1282413 w 1284497"/>
                <a:gd name="connsiteY5" fmla="*/ 0 h 1292885"/>
                <a:gd name="connsiteX6" fmla="*/ 1280357 w 1284497"/>
                <a:gd name="connsiteY6" fmla="*/ 2084 h 1292885"/>
                <a:gd name="connsiteX7" fmla="*/ 645046 w 1284497"/>
                <a:gd name="connsiteY7" fmla="*/ 10297 h 1292885"/>
                <a:gd name="connsiteX8" fmla="*/ 54 w 1284497"/>
                <a:gd name="connsiteY8" fmla="*/ 663386 h 1292885"/>
                <a:gd name="connsiteX9" fmla="*/ 116291 w 1284497"/>
                <a:gd name="connsiteY9" fmla="*/ 1022369 h 1292885"/>
                <a:gd name="connsiteX10" fmla="*/ 189491 w 1284497"/>
                <a:gd name="connsiteY10" fmla="*/ 1107643 h 1292885"/>
                <a:gd name="connsiteX11" fmla="*/ 189349 w 1284497"/>
                <a:gd name="connsiteY11" fmla="*/ 1107787 h 1292885"/>
                <a:gd name="connsiteX12" fmla="*/ 190286 w 1284497"/>
                <a:gd name="connsiteY12" fmla="*/ 1108571 h 1292885"/>
                <a:gd name="connsiteX13" fmla="*/ 190932 w 1284497"/>
                <a:gd name="connsiteY13" fmla="*/ 1109323 h 1292885"/>
                <a:gd name="connsiteX14" fmla="*/ 191047 w 1284497"/>
                <a:gd name="connsiteY14" fmla="*/ 1109207 h 1292885"/>
                <a:gd name="connsiteX15" fmla="*/ 277260 w 1284497"/>
                <a:gd name="connsiteY15" fmla="*/ 1181297 h 1292885"/>
                <a:gd name="connsiteX16" fmla="*/ 637716 w 1284497"/>
                <a:gd name="connsiteY16" fmla="*/ 1292885 h 1292885"/>
                <a:gd name="connsiteX17" fmla="*/ 1093585 w 1284497"/>
                <a:gd name="connsiteY17" fmla="*/ 1101514 h 129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84497" h="1292885">
                  <a:moveTo>
                    <a:pt x="1093585" y="1101514"/>
                  </a:moveTo>
                  <a:cubicBezTo>
                    <a:pt x="1210253" y="983276"/>
                    <a:pt x="1282413" y="819930"/>
                    <a:pt x="1282413" y="639505"/>
                  </a:cubicBezTo>
                  <a:lnTo>
                    <a:pt x="1282413" y="4141"/>
                  </a:lnTo>
                  <a:lnTo>
                    <a:pt x="1284497" y="2031"/>
                  </a:lnTo>
                  <a:lnTo>
                    <a:pt x="1282413" y="2058"/>
                  </a:lnTo>
                  <a:lnTo>
                    <a:pt x="1282413" y="0"/>
                  </a:lnTo>
                  <a:lnTo>
                    <a:pt x="1280357" y="2084"/>
                  </a:lnTo>
                  <a:lnTo>
                    <a:pt x="645046" y="10297"/>
                  </a:lnTo>
                  <a:cubicBezTo>
                    <a:pt x="284224" y="14961"/>
                    <a:pt x="-4549" y="307360"/>
                    <a:pt x="54" y="663386"/>
                  </a:cubicBezTo>
                  <a:cubicBezTo>
                    <a:pt x="1780" y="796895"/>
                    <a:pt x="44516" y="920394"/>
                    <a:pt x="116291" y="1022369"/>
                  </a:cubicBezTo>
                  <a:lnTo>
                    <a:pt x="189491" y="1107643"/>
                  </a:lnTo>
                  <a:lnTo>
                    <a:pt x="189349" y="1107787"/>
                  </a:lnTo>
                  <a:lnTo>
                    <a:pt x="190286" y="1108571"/>
                  </a:lnTo>
                  <a:lnTo>
                    <a:pt x="190932" y="1109323"/>
                  </a:lnTo>
                  <a:lnTo>
                    <a:pt x="191047" y="1109207"/>
                  </a:lnTo>
                  <a:lnTo>
                    <a:pt x="277260" y="1181297"/>
                  </a:lnTo>
                  <a:cubicBezTo>
                    <a:pt x="380155" y="1251748"/>
                    <a:pt x="504195" y="1292885"/>
                    <a:pt x="637716" y="1292885"/>
                  </a:cubicBezTo>
                  <a:cubicBezTo>
                    <a:pt x="815744" y="1292885"/>
                    <a:pt x="976918" y="1219753"/>
                    <a:pt x="1093585" y="1101514"/>
                  </a:cubicBez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000000"/>
                </a:solidFill>
              </a:endParaRPr>
            </a:p>
          </p:txBody>
        </p:sp>
        <p:sp>
          <p:nvSpPr>
            <p:cNvPr id="28" name="Oval 27">
              <a:extLst>
                <a:ext uri="{FF2B5EF4-FFF2-40B4-BE49-F238E27FC236}">
                  <a16:creationId xmlns:a16="http://schemas.microsoft.com/office/drawing/2014/main" id="{25710623-6E0C-F56D-34A3-9CCEB6E7238B}"/>
                </a:ext>
              </a:extLst>
            </p:cNvPr>
            <p:cNvSpPr/>
            <p:nvPr/>
          </p:nvSpPr>
          <p:spPr>
            <a:xfrm rot="16200000">
              <a:off x="2550306" y="2173653"/>
              <a:ext cx="1002225" cy="10157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860864"/>
                </a:solidFill>
              </a:endParaRPr>
            </a:p>
          </p:txBody>
        </p:sp>
      </p:grpSp>
      <p:grpSp>
        <p:nvGrpSpPr>
          <p:cNvPr id="29" name="Group 28">
            <a:extLst>
              <a:ext uri="{FF2B5EF4-FFF2-40B4-BE49-F238E27FC236}">
                <a16:creationId xmlns:a16="http://schemas.microsoft.com/office/drawing/2014/main" id="{30A49B2C-CCC4-80A5-D7E5-B471160300DE}"/>
              </a:ext>
            </a:extLst>
          </p:cNvPr>
          <p:cNvGrpSpPr/>
          <p:nvPr/>
        </p:nvGrpSpPr>
        <p:grpSpPr>
          <a:xfrm>
            <a:off x="7086927" y="1860663"/>
            <a:ext cx="1292885" cy="1284497"/>
            <a:chOff x="2399169" y="2039268"/>
            <a:chExt cx="1292885" cy="1284497"/>
          </a:xfrm>
        </p:grpSpPr>
        <p:sp>
          <p:nvSpPr>
            <p:cNvPr id="30" name="Freeform: Shape 29">
              <a:extLst>
                <a:ext uri="{FF2B5EF4-FFF2-40B4-BE49-F238E27FC236}">
                  <a16:creationId xmlns:a16="http://schemas.microsoft.com/office/drawing/2014/main" id="{8CD6B9D4-42B9-AAE2-E678-57364DF66086}"/>
                </a:ext>
              </a:extLst>
            </p:cNvPr>
            <p:cNvSpPr/>
            <p:nvPr/>
          </p:nvSpPr>
          <p:spPr>
            <a:xfrm rot="8055561" flipH="1">
              <a:off x="2403363" y="2035074"/>
              <a:ext cx="1284497" cy="1292885"/>
            </a:xfrm>
            <a:custGeom>
              <a:avLst/>
              <a:gdLst>
                <a:gd name="connsiteX0" fmla="*/ 1093585 w 1284497"/>
                <a:gd name="connsiteY0" fmla="*/ 1101514 h 1292885"/>
                <a:gd name="connsiteX1" fmla="*/ 1282413 w 1284497"/>
                <a:gd name="connsiteY1" fmla="*/ 639505 h 1292885"/>
                <a:gd name="connsiteX2" fmla="*/ 1282413 w 1284497"/>
                <a:gd name="connsiteY2" fmla="*/ 4141 h 1292885"/>
                <a:gd name="connsiteX3" fmla="*/ 1284497 w 1284497"/>
                <a:gd name="connsiteY3" fmla="*/ 2031 h 1292885"/>
                <a:gd name="connsiteX4" fmla="*/ 1282413 w 1284497"/>
                <a:gd name="connsiteY4" fmla="*/ 2058 h 1292885"/>
                <a:gd name="connsiteX5" fmla="*/ 1282413 w 1284497"/>
                <a:gd name="connsiteY5" fmla="*/ 0 h 1292885"/>
                <a:gd name="connsiteX6" fmla="*/ 1280357 w 1284497"/>
                <a:gd name="connsiteY6" fmla="*/ 2084 h 1292885"/>
                <a:gd name="connsiteX7" fmla="*/ 645046 w 1284497"/>
                <a:gd name="connsiteY7" fmla="*/ 10297 h 1292885"/>
                <a:gd name="connsiteX8" fmla="*/ 54 w 1284497"/>
                <a:gd name="connsiteY8" fmla="*/ 663386 h 1292885"/>
                <a:gd name="connsiteX9" fmla="*/ 116291 w 1284497"/>
                <a:gd name="connsiteY9" fmla="*/ 1022369 h 1292885"/>
                <a:gd name="connsiteX10" fmla="*/ 189491 w 1284497"/>
                <a:gd name="connsiteY10" fmla="*/ 1107643 h 1292885"/>
                <a:gd name="connsiteX11" fmla="*/ 189349 w 1284497"/>
                <a:gd name="connsiteY11" fmla="*/ 1107787 h 1292885"/>
                <a:gd name="connsiteX12" fmla="*/ 190286 w 1284497"/>
                <a:gd name="connsiteY12" fmla="*/ 1108571 h 1292885"/>
                <a:gd name="connsiteX13" fmla="*/ 190932 w 1284497"/>
                <a:gd name="connsiteY13" fmla="*/ 1109323 h 1292885"/>
                <a:gd name="connsiteX14" fmla="*/ 191047 w 1284497"/>
                <a:gd name="connsiteY14" fmla="*/ 1109207 h 1292885"/>
                <a:gd name="connsiteX15" fmla="*/ 277260 w 1284497"/>
                <a:gd name="connsiteY15" fmla="*/ 1181297 h 1292885"/>
                <a:gd name="connsiteX16" fmla="*/ 637716 w 1284497"/>
                <a:gd name="connsiteY16" fmla="*/ 1292885 h 1292885"/>
                <a:gd name="connsiteX17" fmla="*/ 1093585 w 1284497"/>
                <a:gd name="connsiteY17" fmla="*/ 1101514 h 129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84497" h="1292885">
                  <a:moveTo>
                    <a:pt x="1093585" y="1101514"/>
                  </a:moveTo>
                  <a:cubicBezTo>
                    <a:pt x="1210253" y="983276"/>
                    <a:pt x="1282413" y="819930"/>
                    <a:pt x="1282413" y="639505"/>
                  </a:cubicBezTo>
                  <a:lnTo>
                    <a:pt x="1282413" y="4141"/>
                  </a:lnTo>
                  <a:lnTo>
                    <a:pt x="1284497" y="2031"/>
                  </a:lnTo>
                  <a:lnTo>
                    <a:pt x="1282413" y="2058"/>
                  </a:lnTo>
                  <a:lnTo>
                    <a:pt x="1282413" y="0"/>
                  </a:lnTo>
                  <a:lnTo>
                    <a:pt x="1280357" y="2084"/>
                  </a:lnTo>
                  <a:lnTo>
                    <a:pt x="645046" y="10297"/>
                  </a:lnTo>
                  <a:cubicBezTo>
                    <a:pt x="284224" y="14961"/>
                    <a:pt x="-4549" y="307360"/>
                    <a:pt x="54" y="663386"/>
                  </a:cubicBezTo>
                  <a:cubicBezTo>
                    <a:pt x="1780" y="796895"/>
                    <a:pt x="44516" y="920394"/>
                    <a:pt x="116291" y="1022369"/>
                  </a:cubicBezTo>
                  <a:lnTo>
                    <a:pt x="189491" y="1107643"/>
                  </a:lnTo>
                  <a:lnTo>
                    <a:pt x="189349" y="1107787"/>
                  </a:lnTo>
                  <a:lnTo>
                    <a:pt x="190286" y="1108571"/>
                  </a:lnTo>
                  <a:lnTo>
                    <a:pt x="190932" y="1109323"/>
                  </a:lnTo>
                  <a:lnTo>
                    <a:pt x="191047" y="1109207"/>
                  </a:lnTo>
                  <a:lnTo>
                    <a:pt x="277260" y="1181297"/>
                  </a:lnTo>
                  <a:cubicBezTo>
                    <a:pt x="380155" y="1251748"/>
                    <a:pt x="504195" y="1292885"/>
                    <a:pt x="637716" y="1292885"/>
                  </a:cubicBezTo>
                  <a:cubicBezTo>
                    <a:pt x="815744" y="1292885"/>
                    <a:pt x="976918" y="1219753"/>
                    <a:pt x="1093585" y="1101514"/>
                  </a:cubicBez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000000"/>
                </a:solidFill>
              </a:endParaRPr>
            </a:p>
          </p:txBody>
        </p:sp>
        <p:sp>
          <p:nvSpPr>
            <p:cNvPr id="31" name="Oval 30">
              <a:extLst>
                <a:ext uri="{FF2B5EF4-FFF2-40B4-BE49-F238E27FC236}">
                  <a16:creationId xmlns:a16="http://schemas.microsoft.com/office/drawing/2014/main" id="{23D1F44C-72D5-A35D-5C77-9FE1CA5EC358}"/>
                </a:ext>
              </a:extLst>
            </p:cNvPr>
            <p:cNvSpPr/>
            <p:nvPr/>
          </p:nvSpPr>
          <p:spPr>
            <a:xfrm rot="16200000">
              <a:off x="2550306" y="2173653"/>
              <a:ext cx="1002225" cy="10157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860864"/>
                </a:solidFill>
              </a:endParaRPr>
            </a:p>
          </p:txBody>
        </p:sp>
      </p:grpSp>
      <p:grpSp>
        <p:nvGrpSpPr>
          <p:cNvPr id="32" name="Group 31">
            <a:extLst>
              <a:ext uri="{FF2B5EF4-FFF2-40B4-BE49-F238E27FC236}">
                <a16:creationId xmlns:a16="http://schemas.microsoft.com/office/drawing/2014/main" id="{22DD6C90-1FA4-AFB8-45C4-50393E418AB8}"/>
              </a:ext>
            </a:extLst>
          </p:cNvPr>
          <p:cNvGrpSpPr/>
          <p:nvPr/>
        </p:nvGrpSpPr>
        <p:grpSpPr>
          <a:xfrm>
            <a:off x="8649513" y="1855676"/>
            <a:ext cx="2870226" cy="1284497"/>
            <a:chOff x="2399169" y="2039268"/>
            <a:chExt cx="2870226" cy="1284497"/>
          </a:xfrm>
        </p:grpSpPr>
        <p:sp>
          <p:nvSpPr>
            <p:cNvPr id="33" name="Freeform: Shape 32">
              <a:extLst>
                <a:ext uri="{FF2B5EF4-FFF2-40B4-BE49-F238E27FC236}">
                  <a16:creationId xmlns:a16="http://schemas.microsoft.com/office/drawing/2014/main" id="{0FDA005A-3058-7240-7B91-1A2A942E7847}"/>
                </a:ext>
              </a:extLst>
            </p:cNvPr>
            <p:cNvSpPr/>
            <p:nvPr/>
          </p:nvSpPr>
          <p:spPr>
            <a:xfrm rot="8055561" flipH="1">
              <a:off x="2403363" y="2035074"/>
              <a:ext cx="1284497" cy="1292885"/>
            </a:xfrm>
            <a:custGeom>
              <a:avLst/>
              <a:gdLst>
                <a:gd name="connsiteX0" fmla="*/ 1093585 w 1284497"/>
                <a:gd name="connsiteY0" fmla="*/ 1101514 h 1292885"/>
                <a:gd name="connsiteX1" fmla="*/ 1282413 w 1284497"/>
                <a:gd name="connsiteY1" fmla="*/ 639505 h 1292885"/>
                <a:gd name="connsiteX2" fmla="*/ 1282413 w 1284497"/>
                <a:gd name="connsiteY2" fmla="*/ 4141 h 1292885"/>
                <a:gd name="connsiteX3" fmla="*/ 1284497 w 1284497"/>
                <a:gd name="connsiteY3" fmla="*/ 2031 h 1292885"/>
                <a:gd name="connsiteX4" fmla="*/ 1282413 w 1284497"/>
                <a:gd name="connsiteY4" fmla="*/ 2058 h 1292885"/>
                <a:gd name="connsiteX5" fmla="*/ 1282413 w 1284497"/>
                <a:gd name="connsiteY5" fmla="*/ 0 h 1292885"/>
                <a:gd name="connsiteX6" fmla="*/ 1280357 w 1284497"/>
                <a:gd name="connsiteY6" fmla="*/ 2084 h 1292885"/>
                <a:gd name="connsiteX7" fmla="*/ 645046 w 1284497"/>
                <a:gd name="connsiteY7" fmla="*/ 10297 h 1292885"/>
                <a:gd name="connsiteX8" fmla="*/ 54 w 1284497"/>
                <a:gd name="connsiteY8" fmla="*/ 663386 h 1292885"/>
                <a:gd name="connsiteX9" fmla="*/ 116291 w 1284497"/>
                <a:gd name="connsiteY9" fmla="*/ 1022369 h 1292885"/>
                <a:gd name="connsiteX10" fmla="*/ 189491 w 1284497"/>
                <a:gd name="connsiteY10" fmla="*/ 1107643 h 1292885"/>
                <a:gd name="connsiteX11" fmla="*/ 189349 w 1284497"/>
                <a:gd name="connsiteY11" fmla="*/ 1107787 h 1292885"/>
                <a:gd name="connsiteX12" fmla="*/ 190286 w 1284497"/>
                <a:gd name="connsiteY12" fmla="*/ 1108571 h 1292885"/>
                <a:gd name="connsiteX13" fmla="*/ 190932 w 1284497"/>
                <a:gd name="connsiteY13" fmla="*/ 1109323 h 1292885"/>
                <a:gd name="connsiteX14" fmla="*/ 191047 w 1284497"/>
                <a:gd name="connsiteY14" fmla="*/ 1109207 h 1292885"/>
                <a:gd name="connsiteX15" fmla="*/ 277260 w 1284497"/>
                <a:gd name="connsiteY15" fmla="*/ 1181297 h 1292885"/>
                <a:gd name="connsiteX16" fmla="*/ 637716 w 1284497"/>
                <a:gd name="connsiteY16" fmla="*/ 1292885 h 1292885"/>
                <a:gd name="connsiteX17" fmla="*/ 1093585 w 1284497"/>
                <a:gd name="connsiteY17" fmla="*/ 1101514 h 129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84497" h="1292885">
                  <a:moveTo>
                    <a:pt x="1093585" y="1101514"/>
                  </a:moveTo>
                  <a:cubicBezTo>
                    <a:pt x="1210253" y="983276"/>
                    <a:pt x="1282413" y="819930"/>
                    <a:pt x="1282413" y="639505"/>
                  </a:cubicBezTo>
                  <a:lnTo>
                    <a:pt x="1282413" y="4141"/>
                  </a:lnTo>
                  <a:lnTo>
                    <a:pt x="1284497" y="2031"/>
                  </a:lnTo>
                  <a:lnTo>
                    <a:pt x="1282413" y="2058"/>
                  </a:lnTo>
                  <a:lnTo>
                    <a:pt x="1282413" y="0"/>
                  </a:lnTo>
                  <a:lnTo>
                    <a:pt x="1280357" y="2084"/>
                  </a:lnTo>
                  <a:lnTo>
                    <a:pt x="645046" y="10297"/>
                  </a:lnTo>
                  <a:cubicBezTo>
                    <a:pt x="284224" y="14961"/>
                    <a:pt x="-4549" y="307360"/>
                    <a:pt x="54" y="663386"/>
                  </a:cubicBezTo>
                  <a:cubicBezTo>
                    <a:pt x="1780" y="796895"/>
                    <a:pt x="44516" y="920394"/>
                    <a:pt x="116291" y="1022369"/>
                  </a:cubicBezTo>
                  <a:lnTo>
                    <a:pt x="189491" y="1107643"/>
                  </a:lnTo>
                  <a:lnTo>
                    <a:pt x="189349" y="1107787"/>
                  </a:lnTo>
                  <a:lnTo>
                    <a:pt x="190286" y="1108571"/>
                  </a:lnTo>
                  <a:lnTo>
                    <a:pt x="190932" y="1109323"/>
                  </a:lnTo>
                  <a:lnTo>
                    <a:pt x="191047" y="1109207"/>
                  </a:lnTo>
                  <a:lnTo>
                    <a:pt x="277260" y="1181297"/>
                  </a:lnTo>
                  <a:cubicBezTo>
                    <a:pt x="380155" y="1251748"/>
                    <a:pt x="504195" y="1292885"/>
                    <a:pt x="637716" y="1292885"/>
                  </a:cubicBezTo>
                  <a:cubicBezTo>
                    <a:pt x="815744" y="1292885"/>
                    <a:pt x="976918" y="1219753"/>
                    <a:pt x="1093585" y="1101514"/>
                  </a:cubicBez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000000"/>
                </a:solidFill>
              </a:endParaRPr>
            </a:p>
          </p:txBody>
        </p:sp>
        <p:sp>
          <p:nvSpPr>
            <p:cNvPr id="34" name="Oval 33">
              <a:extLst>
                <a:ext uri="{FF2B5EF4-FFF2-40B4-BE49-F238E27FC236}">
                  <a16:creationId xmlns:a16="http://schemas.microsoft.com/office/drawing/2014/main" id="{56D187F9-6BF6-7A65-5A34-03B82857CA2D}"/>
                </a:ext>
              </a:extLst>
            </p:cNvPr>
            <p:cNvSpPr/>
            <p:nvPr/>
          </p:nvSpPr>
          <p:spPr>
            <a:xfrm rot="16200000">
              <a:off x="2550306" y="2173653"/>
              <a:ext cx="1002225" cy="10157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860864"/>
                </a:solidFill>
              </a:endParaRPr>
            </a:p>
          </p:txBody>
        </p:sp>
        <p:sp>
          <p:nvSpPr>
            <p:cNvPr id="35" name="Freeform: Shape 34">
              <a:extLst>
                <a:ext uri="{FF2B5EF4-FFF2-40B4-BE49-F238E27FC236}">
                  <a16:creationId xmlns:a16="http://schemas.microsoft.com/office/drawing/2014/main" id="{DEB743D5-C27B-DCEB-75BE-E38EC979B1E9}"/>
                </a:ext>
              </a:extLst>
            </p:cNvPr>
            <p:cNvSpPr/>
            <p:nvPr/>
          </p:nvSpPr>
          <p:spPr>
            <a:xfrm rot="8055561" flipH="1">
              <a:off x="3980704" y="2035074"/>
              <a:ext cx="1284497" cy="1292885"/>
            </a:xfrm>
            <a:custGeom>
              <a:avLst/>
              <a:gdLst>
                <a:gd name="connsiteX0" fmla="*/ 1093585 w 1284497"/>
                <a:gd name="connsiteY0" fmla="*/ 1101514 h 1292885"/>
                <a:gd name="connsiteX1" fmla="*/ 1282413 w 1284497"/>
                <a:gd name="connsiteY1" fmla="*/ 639505 h 1292885"/>
                <a:gd name="connsiteX2" fmla="*/ 1282413 w 1284497"/>
                <a:gd name="connsiteY2" fmla="*/ 4141 h 1292885"/>
                <a:gd name="connsiteX3" fmla="*/ 1284497 w 1284497"/>
                <a:gd name="connsiteY3" fmla="*/ 2031 h 1292885"/>
                <a:gd name="connsiteX4" fmla="*/ 1282413 w 1284497"/>
                <a:gd name="connsiteY4" fmla="*/ 2058 h 1292885"/>
                <a:gd name="connsiteX5" fmla="*/ 1282413 w 1284497"/>
                <a:gd name="connsiteY5" fmla="*/ 0 h 1292885"/>
                <a:gd name="connsiteX6" fmla="*/ 1280357 w 1284497"/>
                <a:gd name="connsiteY6" fmla="*/ 2084 h 1292885"/>
                <a:gd name="connsiteX7" fmla="*/ 645046 w 1284497"/>
                <a:gd name="connsiteY7" fmla="*/ 10297 h 1292885"/>
                <a:gd name="connsiteX8" fmla="*/ 54 w 1284497"/>
                <a:gd name="connsiteY8" fmla="*/ 663386 h 1292885"/>
                <a:gd name="connsiteX9" fmla="*/ 116291 w 1284497"/>
                <a:gd name="connsiteY9" fmla="*/ 1022369 h 1292885"/>
                <a:gd name="connsiteX10" fmla="*/ 189491 w 1284497"/>
                <a:gd name="connsiteY10" fmla="*/ 1107643 h 1292885"/>
                <a:gd name="connsiteX11" fmla="*/ 189349 w 1284497"/>
                <a:gd name="connsiteY11" fmla="*/ 1107787 h 1292885"/>
                <a:gd name="connsiteX12" fmla="*/ 190286 w 1284497"/>
                <a:gd name="connsiteY12" fmla="*/ 1108571 h 1292885"/>
                <a:gd name="connsiteX13" fmla="*/ 190932 w 1284497"/>
                <a:gd name="connsiteY13" fmla="*/ 1109323 h 1292885"/>
                <a:gd name="connsiteX14" fmla="*/ 191047 w 1284497"/>
                <a:gd name="connsiteY14" fmla="*/ 1109207 h 1292885"/>
                <a:gd name="connsiteX15" fmla="*/ 277260 w 1284497"/>
                <a:gd name="connsiteY15" fmla="*/ 1181297 h 1292885"/>
                <a:gd name="connsiteX16" fmla="*/ 637716 w 1284497"/>
                <a:gd name="connsiteY16" fmla="*/ 1292885 h 1292885"/>
                <a:gd name="connsiteX17" fmla="*/ 1093585 w 1284497"/>
                <a:gd name="connsiteY17" fmla="*/ 1101514 h 129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84497" h="1292885">
                  <a:moveTo>
                    <a:pt x="1093585" y="1101514"/>
                  </a:moveTo>
                  <a:cubicBezTo>
                    <a:pt x="1210253" y="983276"/>
                    <a:pt x="1282413" y="819930"/>
                    <a:pt x="1282413" y="639505"/>
                  </a:cubicBezTo>
                  <a:lnTo>
                    <a:pt x="1282413" y="4141"/>
                  </a:lnTo>
                  <a:lnTo>
                    <a:pt x="1284497" y="2031"/>
                  </a:lnTo>
                  <a:lnTo>
                    <a:pt x="1282413" y="2058"/>
                  </a:lnTo>
                  <a:lnTo>
                    <a:pt x="1282413" y="0"/>
                  </a:lnTo>
                  <a:lnTo>
                    <a:pt x="1280357" y="2084"/>
                  </a:lnTo>
                  <a:lnTo>
                    <a:pt x="645046" y="10297"/>
                  </a:lnTo>
                  <a:cubicBezTo>
                    <a:pt x="284224" y="14961"/>
                    <a:pt x="-4549" y="307360"/>
                    <a:pt x="54" y="663386"/>
                  </a:cubicBezTo>
                  <a:cubicBezTo>
                    <a:pt x="1780" y="796895"/>
                    <a:pt x="44516" y="920394"/>
                    <a:pt x="116291" y="1022369"/>
                  </a:cubicBezTo>
                  <a:lnTo>
                    <a:pt x="189491" y="1107643"/>
                  </a:lnTo>
                  <a:lnTo>
                    <a:pt x="189349" y="1107787"/>
                  </a:lnTo>
                  <a:lnTo>
                    <a:pt x="190286" y="1108571"/>
                  </a:lnTo>
                  <a:lnTo>
                    <a:pt x="190932" y="1109323"/>
                  </a:lnTo>
                  <a:lnTo>
                    <a:pt x="191047" y="1109207"/>
                  </a:lnTo>
                  <a:lnTo>
                    <a:pt x="277260" y="1181297"/>
                  </a:lnTo>
                  <a:cubicBezTo>
                    <a:pt x="380155" y="1251748"/>
                    <a:pt x="504195" y="1292885"/>
                    <a:pt x="637716" y="1292885"/>
                  </a:cubicBezTo>
                  <a:cubicBezTo>
                    <a:pt x="815744" y="1292885"/>
                    <a:pt x="976918" y="1219753"/>
                    <a:pt x="1093585" y="1101514"/>
                  </a:cubicBez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solidFill>
                  <a:srgbClr val="000000"/>
                </a:solidFill>
              </a:endParaRPr>
            </a:p>
          </p:txBody>
        </p:sp>
        <p:sp>
          <p:nvSpPr>
            <p:cNvPr id="36" name="Oval 35">
              <a:extLst>
                <a:ext uri="{FF2B5EF4-FFF2-40B4-BE49-F238E27FC236}">
                  <a16:creationId xmlns:a16="http://schemas.microsoft.com/office/drawing/2014/main" id="{DFA0C5CE-018B-EFFD-4713-06C620F4D94B}"/>
                </a:ext>
              </a:extLst>
            </p:cNvPr>
            <p:cNvSpPr/>
            <p:nvPr/>
          </p:nvSpPr>
          <p:spPr>
            <a:xfrm rot="16200000">
              <a:off x="4127647" y="2173653"/>
              <a:ext cx="1002225" cy="10157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860864"/>
                </a:solidFill>
              </a:endParaRPr>
            </a:p>
          </p:txBody>
        </p:sp>
      </p:grpSp>
      <p:sp>
        <p:nvSpPr>
          <p:cNvPr id="37" name="TextBox 36">
            <a:extLst>
              <a:ext uri="{FF2B5EF4-FFF2-40B4-BE49-F238E27FC236}">
                <a16:creationId xmlns:a16="http://schemas.microsoft.com/office/drawing/2014/main" id="{D9B03C32-ED03-D4E6-8A14-CBE2BA4C1AE1}"/>
              </a:ext>
            </a:extLst>
          </p:cNvPr>
          <p:cNvSpPr txBox="1"/>
          <p:nvPr/>
        </p:nvSpPr>
        <p:spPr>
          <a:xfrm>
            <a:off x="4106141" y="2634590"/>
            <a:ext cx="1031409" cy="246221"/>
          </a:xfrm>
          <a:prstGeom prst="rect">
            <a:avLst/>
          </a:prstGeom>
          <a:noFill/>
        </p:spPr>
        <p:txBody>
          <a:bodyPr wrap="square" rtlCol="0">
            <a:spAutoFit/>
          </a:bodyPr>
          <a:lstStyle/>
          <a:p>
            <a:pPr algn="ctr"/>
            <a:r>
              <a:rPr lang="en-US" sz="1000" b="1">
                <a:solidFill>
                  <a:schemeClr val="bg1"/>
                </a:solidFill>
              </a:rPr>
              <a:t>Build</a:t>
            </a:r>
          </a:p>
        </p:txBody>
      </p:sp>
      <p:sp>
        <p:nvSpPr>
          <p:cNvPr id="38" name="TextBox 37">
            <a:extLst>
              <a:ext uri="{FF2B5EF4-FFF2-40B4-BE49-F238E27FC236}">
                <a16:creationId xmlns:a16="http://schemas.microsoft.com/office/drawing/2014/main" id="{C938A7FC-B971-C374-746C-32DE0AE2CEFC}"/>
              </a:ext>
            </a:extLst>
          </p:cNvPr>
          <p:cNvSpPr txBox="1"/>
          <p:nvPr/>
        </p:nvSpPr>
        <p:spPr>
          <a:xfrm>
            <a:off x="5649098" y="2634590"/>
            <a:ext cx="1031409" cy="400110"/>
          </a:xfrm>
          <a:prstGeom prst="rect">
            <a:avLst/>
          </a:prstGeom>
          <a:noFill/>
        </p:spPr>
        <p:txBody>
          <a:bodyPr wrap="square" rtlCol="0">
            <a:spAutoFit/>
          </a:bodyPr>
          <a:lstStyle/>
          <a:p>
            <a:pPr algn="ctr"/>
            <a:r>
              <a:rPr lang="en-US" sz="1000" b="1">
                <a:solidFill>
                  <a:schemeClr val="bg1"/>
                </a:solidFill>
              </a:rPr>
              <a:t>CI / CD</a:t>
            </a:r>
          </a:p>
          <a:p>
            <a:pPr algn="ctr"/>
            <a:r>
              <a:rPr lang="en-US" sz="1000" b="1">
                <a:solidFill>
                  <a:schemeClr val="bg1"/>
                </a:solidFill>
              </a:rPr>
              <a:t>DevOps</a:t>
            </a:r>
          </a:p>
        </p:txBody>
      </p:sp>
      <p:grpSp>
        <p:nvGrpSpPr>
          <p:cNvPr id="39" name="Group 38">
            <a:extLst>
              <a:ext uri="{FF2B5EF4-FFF2-40B4-BE49-F238E27FC236}">
                <a16:creationId xmlns:a16="http://schemas.microsoft.com/office/drawing/2014/main" id="{E14DA933-1A9E-AD15-FCD7-CF050FE43D76}"/>
              </a:ext>
            </a:extLst>
          </p:cNvPr>
          <p:cNvGrpSpPr/>
          <p:nvPr/>
        </p:nvGrpSpPr>
        <p:grpSpPr>
          <a:xfrm>
            <a:off x="6002373" y="2214126"/>
            <a:ext cx="399198" cy="347252"/>
            <a:chOff x="6002373" y="1692319"/>
            <a:chExt cx="399198" cy="347252"/>
          </a:xfrm>
          <a:solidFill>
            <a:schemeClr val="bg1"/>
          </a:solidFill>
        </p:grpSpPr>
        <p:sp>
          <p:nvSpPr>
            <p:cNvPr id="40" name="Freeform 51">
              <a:extLst>
                <a:ext uri="{FF2B5EF4-FFF2-40B4-BE49-F238E27FC236}">
                  <a16:creationId xmlns:a16="http://schemas.microsoft.com/office/drawing/2014/main" id="{077AA425-C9F9-8DE7-DF94-7F7629DA4D8D}"/>
                </a:ext>
              </a:extLst>
            </p:cNvPr>
            <p:cNvSpPr>
              <a:spLocks/>
            </p:cNvSpPr>
            <p:nvPr/>
          </p:nvSpPr>
          <p:spPr bwMode="auto">
            <a:xfrm>
              <a:off x="6151808" y="1692319"/>
              <a:ext cx="78986" cy="79697"/>
            </a:xfrm>
            <a:custGeom>
              <a:avLst/>
              <a:gdLst>
                <a:gd name="T0" fmla="*/ 276 w 362"/>
                <a:gd name="T1" fmla="*/ 311 h 363"/>
                <a:gd name="T2" fmla="*/ 310 w 362"/>
                <a:gd name="T3" fmla="*/ 87 h 363"/>
                <a:gd name="T4" fmla="*/ 87 w 362"/>
                <a:gd name="T5" fmla="*/ 53 h 363"/>
                <a:gd name="T6" fmla="*/ 53 w 362"/>
                <a:gd name="T7" fmla="*/ 276 h 363"/>
                <a:gd name="T8" fmla="*/ 276 w 362"/>
                <a:gd name="T9" fmla="*/ 311 h 363"/>
              </a:gdLst>
              <a:ahLst/>
              <a:cxnLst>
                <a:cxn ang="0">
                  <a:pos x="T0" y="T1"/>
                </a:cxn>
                <a:cxn ang="0">
                  <a:pos x="T2" y="T3"/>
                </a:cxn>
                <a:cxn ang="0">
                  <a:pos x="T4" y="T5"/>
                </a:cxn>
                <a:cxn ang="0">
                  <a:pos x="T6" y="T7"/>
                </a:cxn>
                <a:cxn ang="0">
                  <a:pos x="T8" y="T9"/>
                </a:cxn>
              </a:cxnLst>
              <a:rect l="0" t="0" r="r" b="b"/>
              <a:pathLst>
                <a:path w="362" h="363">
                  <a:moveTo>
                    <a:pt x="276" y="311"/>
                  </a:moveTo>
                  <a:cubicBezTo>
                    <a:pt x="347" y="258"/>
                    <a:pt x="362" y="158"/>
                    <a:pt x="310" y="87"/>
                  </a:cubicBezTo>
                  <a:cubicBezTo>
                    <a:pt x="258" y="16"/>
                    <a:pt x="158" y="0"/>
                    <a:pt x="87" y="53"/>
                  </a:cubicBezTo>
                  <a:cubicBezTo>
                    <a:pt x="16" y="105"/>
                    <a:pt x="0" y="205"/>
                    <a:pt x="53" y="276"/>
                  </a:cubicBezTo>
                  <a:cubicBezTo>
                    <a:pt x="105" y="347"/>
                    <a:pt x="205" y="363"/>
                    <a:pt x="276" y="3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solidFill>
                  <a:prstClr val="black"/>
                </a:solidFill>
              </a:endParaRPr>
            </a:p>
          </p:txBody>
        </p:sp>
        <p:sp>
          <p:nvSpPr>
            <p:cNvPr id="41" name="Freeform 52">
              <a:extLst>
                <a:ext uri="{FF2B5EF4-FFF2-40B4-BE49-F238E27FC236}">
                  <a16:creationId xmlns:a16="http://schemas.microsoft.com/office/drawing/2014/main" id="{83CD849C-ABF3-968E-C479-14303196DE51}"/>
                </a:ext>
              </a:extLst>
            </p:cNvPr>
            <p:cNvSpPr>
              <a:spLocks/>
            </p:cNvSpPr>
            <p:nvPr/>
          </p:nvSpPr>
          <p:spPr bwMode="auto">
            <a:xfrm>
              <a:off x="6007357" y="1872348"/>
              <a:ext cx="154413" cy="166509"/>
            </a:xfrm>
            <a:custGeom>
              <a:avLst/>
              <a:gdLst>
                <a:gd name="T0" fmla="*/ 682 w 704"/>
                <a:gd name="T1" fmla="*/ 309 h 760"/>
                <a:gd name="T2" fmla="*/ 581 w 704"/>
                <a:gd name="T3" fmla="*/ 145 h 760"/>
                <a:gd name="T4" fmla="*/ 246 w 704"/>
                <a:gd name="T5" fmla="*/ 0 h 760"/>
                <a:gd name="T6" fmla="*/ 16 w 704"/>
                <a:gd name="T7" fmla="*/ 648 h 760"/>
                <a:gd name="T8" fmla="*/ 67 w 704"/>
                <a:gd name="T9" fmla="*/ 755 h 760"/>
                <a:gd name="T10" fmla="*/ 95 w 704"/>
                <a:gd name="T11" fmla="*/ 760 h 760"/>
                <a:gd name="T12" fmla="*/ 174 w 704"/>
                <a:gd name="T13" fmla="*/ 704 h 760"/>
                <a:gd name="T14" fmla="*/ 378 w 704"/>
                <a:gd name="T15" fmla="*/ 131 h 760"/>
                <a:gd name="T16" fmla="*/ 528 w 704"/>
                <a:gd name="T17" fmla="*/ 378 h 760"/>
                <a:gd name="T18" fmla="*/ 535 w 704"/>
                <a:gd name="T19" fmla="*/ 678 h 760"/>
                <a:gd name="T20" fmla="*/ 619 w 704"/>
                <a:gd name="T21" fmla="*/ 760 h 760"/>
                <a:gd name="T22" fmla="*/ 621 w 704"/>
                <a:gd name="T23" fmla="*/ 760 h 760"/>
                <a:gd name="T24" fmla="*/ 703 w 704"/>
                <a:gd name="T25" fmla="*/ 674 h 760"/>
                <a:gd name="T26" fmla="*/ 695 w 704"/>
                <a:gd name="T27" fmla="*/ 351 h 760"/>
                <a:gd name="T28" fmla="*/ 682 w 704"/>
                <a:gd name="T29" fmla="*/ 309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4" h="760">
                  <a:moveTo>
                    <a:pt x="682" y="309"/>
                  </a:moveTo>
                  <a:cubicBezTo>
                    <a:pt x="581" y="145"/>
                    <a:pt x="581" y="145"/>
                    <a:pt x="581" y="145"/>
                  </a:cubicBezTo>
                  <a:cubicBezTo>
                    <a:pt x="246" y="0"/>
                    <a:pt x="246" y="0"/>
                    <a:pt x="246" y="0"/>
                  </a:cubicBezTo>
                  <a:cubicBezTo>
                    <a:pt x="16" y="648"/>
                    <a:pt x="16" y="648"/>
                    <a:pt x="16" y="648"/>
                  </a:cubicBezTo>
                  <a:cubicBezTo>
                    <a:pt x="0" y="691"/>
                    <a:pt x="23" y="739"/>
                    <a:pt x="67" y="755"/>
                  </a:cubicBezTo>
                  <a:cubicBezTo>
                    <a:pt x="76" y="758"/>
                    <a:pt x="86" y="760"/>
                    <a:pt x="95" y="760"/>
                  </a:cubicBezTo>
                  <a:cubicBezTo>
                    <a:pt x="129" y="760"/>
                    <a:pt x="162" y="738"/>
                    <a:pt x="174" y="704"/>
                  </a:cubicBezTo>
                  <a:cubicBezTo>
                    <a:pt x="378" y="131"/>
                    <a:pt x="378" y="131"/>
                    <a:pt x="378" y="131"/>
                  </a:cubicBezTo>
                  <a:cubicBezTo>
                    <a:pt x="380" y="137"/>
                    <a:pt x="528" y="378"/>
                    <a:pt x="528" y="378"/>
                  </a:cubicBezTo>
                  <a:cubicBezTo>
                    <a:pt x="535" y="678"/>
                    <a:pt x="535" y="678"/>
                    <a:pt x="535" y="678"/>
                  </a:cubicBezTo>
                  <a:cubicBezTo>
                    <a:pt x="536" y="723"/>
                    <a:pt x="574" y="760"/>
                    <a:pt x="619" y="760"/>
                  </a:cubicBezTo>
                  <a:cubicBezTo>
                    <a:pt x="620" y="760"/>
                    <a:pt x="620" y="760"/>
                    <a:pt x="621" y="760"/>
                  </a:cubicBezTo>
                  <a:cubicBezTo>
                    <a:pt x="667" y="758"/>
                    <a:pt x="704" y="720"/>
                    <a:pt x="703" y="674"/>
                  </a:cubicBezTo>
                  <a:cubicBezTo>
                    <a:pt x="695" y="351"/>
                    <a:pt x="695" y="351"/>
                    <a:pt x="695" y="351"/>
                  </a:cubicBezTo>
                  <a:cubicBezTo>
                    <a:pt x="695" y="337"/>
                    <a:pt x="690" y="322"/>
                    <a:pt x="682" y="309"/>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solidFill>
                  <a:prstClr val="black"/>
                </a:solidFill>
              </a:endParaRPr>
            </a:p>
          </p:txBody>
        </p:sp>
        <p:sp>
          <p:nvSpPr>
            <p:cNvPr id="42" name="Freeform 53">
              <a:extLst>
                <a:ext uri="{FF2B5EF4-FFF2-40B4-BE49-F238E27FC236}">
                  <a16:creationId xmlns:a16="http://schemas.microsoft.com/office/drawing/2014/main" id="{E45D28D1-F653-A2F6-DEC9-31793F6D670F}"/>
                </a:ext>
              </a:extLst>
            </p:cNvPr>
            <p:cNvSpPr>
              <a:spLocks noEditPoints="1"/>
            </p:cNvSpPr>
            <p:nvPr/>
          </p:nvSpPr>
          <p:spPr bwMode="auto">
            <a:xfrm>
              <a:off x="6002373" y="1761342"/>
              <a:ext cx="250476" cy="175049"/>
            </a:xfrm>
            <a:custGeom>
              <a:avLst/>
              <a:gdLst>
                <a:gd name="T0" fmla="*/ 1093 w 1145"/>
                <a:gd name="T1" fmla="*/ 801 h 801"/>
                <a:gd name="T2" fmla="*/ 1145 w 1145"/>
                <a:gd name="T3" fmla="*/ 714 h 801"/>
                <a:gd name="T4" fmla="*/ 947 w 1145"/>
                <a:gd name="T5" fmla="*/ 628 h 801"/>
                <a:gd name="T6" fmla="*/ 916 w 1145"/>
                <a:gd name="T7" fmla="*/ 427 h 801"/>
                <a:gd name="T8" fmla="*/ 839 w 1145"/>
                <a:gd name="T9" fmla="*/ 139 h 801"/>
                <a:gd name="T10" fmla="*/ 541 w 1145"/>
                <a:gd name="T11" fmla="*/ 0 h 801"/>
                <a:gd name="T12" fmla="*/ 534 w 1145"/>
                <a:gd name="T13" fmla="*/ 0 h 801"/>
                <a:gd name="T14" fmla="*/ 275 w 1145"/>
                <a:gd name="T15" fmla="*/ 52 h 801"/>
                <a:gd name="T16" fmla="*/ 115 w 1145"/>
                <a:gd name="T17" fmla="*/ 267 h 801"/>
                <a:gd name="T18" fmla="*/ 76 w 1145"/>
                <a:gd name="T19" fmla="*/ 250 h 801"/>
                <a:gd name="T20" fmla="*/ 11 w 1145"/>
                <a:gd name="T21" fmla="*/ 276 h 801"/>
                <a:gd name="T22" fmla="*/ 37 w 1145"/>
                <a:gd name="T23" fmla="*/ 342 h 801"/>
                <a:gd name="T24" fmla="*/ 1093 w 1145"/>
                <a:gd name="T25" fmla="*/ 801 h 801"/>
                <a:gd name="T26" fmla="*/ 760 w 1145"/>
                <a:gd name="T27" fmla="*/ 265 h 801"/>
                <a:gd name="T28" fmla="*/ 798 w 1145"/>
                <a:gd name="T29" fmla="*/ 448 h 801"/>
                <a:gd name="T30" fmla="*/ 818 w 1145"/>
                <a:gd name="T31" fmla="*/ 572 h 801"/>
                <a:gd name="T32" fmla="*/ 609 w 1145"/>
                <a:gd name="T33" fmla="*/ 481 h 801"/>
                <a:gd name="T34" fmla="*/ 760 w 1145"/>
                <a:gd name="T35" fmla="*/ 265 h 801"/>
                <a:gd name="T36" fmla="*/ 338 w 1145"/>
                <a:gd name="T37" fmla="*/ 154 h 801"/>
                <a:gd name="T38" fmla="*/ 504 w 1145"/>
                <a:gd name="T39" fmla="*/ 122 h 801"/>
                <a:gd name="T40" fmla="*/ 339 w 1145"/>
                <a:gd name="T41" fmla="*/ 364 h 801"/>
                <a:gd name="T42" fmla="*/ 226 w 1145"/>
                <a:gd name="T43" fmla="*/ 315 h 801"/>
                <a:gd name="T44" fmla="*/ 338 w 1145"/>
                <a:gd name="T45" fmla="*/ 154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5" h="801">
                  <a:moveTo>
                    <a:pt x="1093" y="801"/>
                  </a:moveTo>
                  <a:cubicBezTo>
                    <a:pt x="1145" y="714"/>
                    <a:pt x="1145" y="714"/>
                    <a:pt x="1145" y="714"/>
                  </a:cubicBezTo>
                  <a:cubicBezTo>
                    <a:pt x="947" y="628"/>
                    <a:pt x="947" y="628"/>
                    <a:pt x="947" y="628"/>
                  </a:cubicBezTo>
                  <a:cubicBezTo>
                    <a:pt x="943" y="596"/>
                    <a:pt x="931" y="513"/>
                    <a:pt x="916" y="427"/>
                  </a:cubicBezTo>
                  <a:cubicBezTo>
                    <a:pt x="879" y="219"/>
                    <a:pt x="856" y="164"/>
                    <a:pt x="839" y="139"/>
                  </a:cubicBezTo>
                  <a:cubicBezTo>
                    <a:pt x="783" y="54"/>
                    <a:pt x="666" y="0"/>
                    <a:pt x="541" y="0"/>
                  </a:cubicBezTo>
                  <a:cubicBezTo>
                    <a:pt x="540" y="0"/>
                    <a:pt x="535" y="0"/>
                    <a:pt x="534" y="0"/>
                  </a:cubicBezTo>
                  <a:cubicBezTo>
                    <a:pt x="503" y="1"/>
                    <a:pt x="342" y="11"/>
                    <a:pt x="275" y="52"/>
                  </a:cubicBezTo>
                  <a:cubicBezTo>
                    <a:pt x="222" y="85"/>
                    <a:pt x="153" y="199"/>
                    <a:pt x="115" y="267"/>
                  </a:cubicBezTo>
                  <a:cubicBezTo>
                    <a:pt x="76" y="250"/>
                    <a:pt x="76" y="250"/>
                    <a:pt x="76" y="250"/>
                  </a:cubicBezTo>
                  <a:cubicBezTo>
                    <a:pt x="51" y="239"/>
                    <a:pt x="22" y="251"/>
                    <a:pt x="11" y="276"/>
                  </a:cubicBezTo>
                  <a:cubicBezTo>
                    <a:pt x="0" y="302"/>
                    <a:pt x="11" y="331"/>
                    <a:pt x="37" y="342"/>
                  </a:cubicBezTo>
                  <a:lnTo>
                    <a:pt x="1093" y="801"/>
                  </a:lnTo>
                  <a:close/>
                  <a:moveTo>
                    <a:pt x="760" y="265"/>
                  </a:moveTo>
                  <a:cubicBezTo>
                    <a:pt x="769" y="301"/>
                    <a:pt x="782" y="358"/>
                    <a:pt x="798" y="448"/>
                  </a:cubicBezTo>
                  <a:cubicBezTo>
                    <a:pt x="805" y="493"/>
                    <a:pt x="812" y="536"/>
                    <a:pt x="818" y="572"/>
                  </a:cubicBezTo>
                  <a:cubicBezTo>
                    <a:pt x="609" y="481"/>
                    <a:pt x="609" y="481"/>
                    <a:pt x="609" y="481"/>
                  </a:cubicBezTo>
                  <a:lnTo>
                    <a:pt x="760" y="265"/>
                  </a:lnTo>
                  <a:close/>
                  <a:moveTo>
                    <a:pt x="338" y="154"/>
                  </a:moveTo>
                  <a:cubicBezTo>
                    <a:pt x="361" y="140"/>
                    <a:pt x="435" y="128"/>
                    <a:pt x="504" y="122"/>
                  </a:cubicBezTo>
                  <a:cubicBezTo>
                    <a:pt x="452" y="197"/>
                    <a:pt x="380" y="304"/>
                    <a:pt x="339" y="364"/>
                  </a:cubicBezTo>
                  <a:cubicBezTo>
                    <a:pt x="226" y="315"/>
                    <a:pt x="226" y="315"/>
                    <a:pt x="226" y="315"/>
                  </a:cubicBezTo>
                  <a:cubicBezTo>
                    <a:pt x="271" y="236"/>
                    <a:pt x="319" y="166"/>
                    <a:pt x="338" y="154"/>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solidFill>
                  <a:prstClr val="black"/>
                </a:solidFill>
              </a:endParaRPr>
            </a:p>
          </p:txBody>
        </p:sp>
        <p:sp>
          <p:nvSpPr>
            <p:cNvPr id="52" name="Freeform 54">
              <a:extLst>
                <a:ext uri="{FF2B5EF4-FFF2-40B4-BE49-F238E27FC236}">
                  <a16:creationId xmlns:a16="http://schemas.microsoft.com/office/drawing/2014/main" id="{BE4D822B-DC2C-8A07-E65E-DF00B647DBC6}"/>
                </a:ext>
              </a:extLst>
            </p:cNvPr>
            <p:cNvSpPr>
              <a:spLocks/>
            </p:cNvSpPr>
            <p:nvPr/>
          </p:nvSpPr>
          <p:spPr bwMode="auto">
            <a:xfrm>
              <a:off x="6178847" y="1900812"/>
              <a:ext cx="222724" cy="138759"/>
            </a:xfrm>
            <a:custGeom>
              <a:avLst/>
              <a:gdLst>
                <a:gd name="T0" fmla="*/ 610 w 1020"/>
                <a:gd name="T1" fmla="*/ 48 h 631"/>
                <a:gd name="T2" fmla="*/ 516 w 1020"/>
                <a:gd name="T3" fmla="*/ 1 h 631"/>
                <a:gd name="T4" fmla="*/ 426 w 1020"/>
                <a:gd name="T5" fmla="*/ 55 h 631"/>
                <a:gd name="T6" fmla="*/ 303 w 1020"/>
                <a:gd name="T7" fmla="*/ 260 h 631"/>
                <a:gd name="T8" fmla="*/ 206 w 1020"/>
                <a:gd name="T9" fmla="*/ 293 h 631"/>
                <a:gd name="T10" fmla="*/ 143 w 1020"/>
                <a:gd name="T11" fmla="*/ 348 h 631"/>
                <a:gd name="T12" fmla="*/ 0 w 1020"/>
                <a:gd name="T13" fmla="*/ 631 h 631"/>
                <a:gd name="T14" fmla="*/ 1020 w 1020"/>
                <a:gd name="T15" fmla="*/ 631 h 631"/>
                <a:gd name="T16" fmla="*/ 610 w 1020"/>
                <a:gd name="T17" fmla="*/ 48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0" h="631">
                  <a:moveTo>
                    <a:pt x="610" y="48"/>
                  </a:moveTo>
                  <a:cubicBezTo>
                    <a:pt x="589" y="17"/>
                    <a:pt x="553" y="0"/>
                    <a:pt x="516" y="1"/>
                  </a:cubicBezTo>
                  <a:cubicBezTo>
                    <a:pt x="479" y="3"/>
                    <a:pt x="445" y="23"/>
                    <a:pt x="426" y="55"/>
                  </a:cubicBezTo>
                  <a:cubicBezTo>
                    <a:pt x="303" y="260"/>
                    <a:pt x="303" y="260"/>
                    <a:pt x="303" y="260"/>
                  </a:cubicBezTo>
                  <a:cubicBezTo>
                    <a:pt x="206" y="293"/>
                    <a:pt x="206" y="293"/>
                    <a:pt x="206" y="293"/>
                  </a:cubicBezTo>
                  <a:cubicBezTo>
                    <a:pt x="179" y="302"/>
                    <a:pt x="156" y="322"/>
                    <a:pt x="143" y="348"/>
                  </a:cubicBezTo>
                  <a:cubicBezTo>
                    <a:pt x="0" y="631"/>
                    <a:pt x="0" y="631"/>
                    <a:pt x="0" y="631"/>
                  </a:cubicBezTo>
                  <a:cubicBezTo>
                    <a:pt x="1020" y="631"/>
                    <a:pt x="1020" y="631"/>
                    <a:pt x="1020" y="631"/>
                  </a:cubicBezTo>
                  <a:lnTo>
                    <a:pt x="610" y="48"/>
                  </a:lnTo>
                  <a:close/>
                </a:path>
              </a:pathLst>
            </a:custGeom>
            <a:grpFill/>
            <a:ln>
              <a:noFill/>
            </a:ln>
          </p:spPr>
          <p:txBody>
            <a:bodyPr vert="horz" wrap="square" lIns="91440" tIns="45720" rIns="91440" bIns="45720" numCol="1" anchor="t" anchorCtr="0" compatLnSpc="1">
              <a:prstTxWarp prst="textNoShape">
                <a:avLst/>
              </a:prstTxWarp>
            </a:bodyPr>
            <a:lstStyle/>
            <a:p>
              <a:endParaRPr lang="en-IE">
                <a:solidFill>
                  <a:prstClr val="black"/>
                </a:solidFill>
              </a:endParaRPr>
            </a:p>
          </p:txBody>
        </p:sp>
      </p:grpSp>
      <p:sp>
        <p:nvSpPr>
          <p:cNvPr id="53" name="TextBox 52">
            <a:extLst>
              <a:ext uri="{FF2B5EF4-FFF2-40B4-BE49-F238E27FC236}">
                <a16:creationId xmlns:a16="http://schemas.microsoft.com/office/drawing/2014/main" id="{212DD5DD-F10C-2839-45C4-DE3F2FBE6DDF}"/>
              </a:ext>
            </a:extLst>
          </p:cNvPr>
          <p:cNvSpPr txBox="1"/>
          <p:nvPr/>
        </p:nvSpPr>
        <p:spPr>
          <a:xfrm>
            <a:off x="7224368" y="2529949"/>
            <a:ext cx="1031409" cy="246221"/>
          </a:xfrm>
          <a:prstGeom prst="rect">
            <a:avLst/>
          </a:prstGeom>
          <a:noFill/>
        </p:spPr>
        <p:txBody>
          <a:bodyPr wrap="square" rtlCol="0">
            <a:spAutoFit/>
          </a:bodyPr>
          <a:lstStyle/>
          <a:p>
            <a:pPr algn="ctr"/>
            <a:r>
              <a:rPr lang="en-US" sz="1000" b="1">
                <a:solidFill>
                  <a:schemeClr val="bg1"/>
                </a:solidFill>
              </a:rPr>
              <a:t>Deploy</a:t>
            </a:r>
          </a:p>
        </p:txBody>
      </p:sp>
      <p:grpSp>
        <p:nvGrpSpPr>
          <p:cNvPr id="54" name="Group 53">
            <a:extLst>
              <a:ext uri="{FF2B5EF4-FFF2-40B4-BE49-F238E27FC236}">
                <a16:creationId xmlns:a16="http://schemas.microsoft.com/office/drawing/2014/main" id="{F02C5A11-B1E4-1A11-9D26-431B65E25F71}"/>
              </a:ext>
            </a:extLst>
          </p:cNvPr>
          <p:cNvGrpSpPr/>
          <p:nvPr/>
        </p:nvGrpSpPr>
        <p:grpSpPr>
          <a:xfrm>
            <a:off x="7545993" y="2101135"/>
            <a:ext cx="350106" cy="406763"/>
            <a:chOff x="7545993" y="2264779"/>
            <a:chExt cx="350106" cy="406763"/>
          </a:xfrm>
        </p:grpSpPr>
        <p:sp>
          <p:nvSpPr>
            <p:cNvPr id="55" name="Freeform 183">
              <a:extLst>
                <a:ext uri="{FF2B5EF4-FFF2-40B4-BE49-F238E27FC236}">
                  <a16:creationId xmlns:a16="http://schemas.microsoft.com/office/drawing/2014/main" id="{D4BB3880-8808-700F-0D3C-D59C75807312}"/>
                </a:ext>
              </a:extLst>
            </p:cNvPr>
            <p:cNvSpPr>
              <a:spLocks/>
            </p:cNvSpPr>
            <p:nvPr/>
          </p:nvSpPr>
          <p:spPr bwMode="auto">
            <a:xfrm>
              <a:off x="7545993" y="2264779"/>
              <a:ext cx="350106" cy="406763"/>
            </a:xfrm>
            <a:custGeom>
              <a:avLst/>
              <a:gdLst>
                <a:gd name="T0" fmla="*/ 111 w 124"/>
                <a:gd name="T1" fmla="*/ 29 h 146"/>
                <a:gd name="T2" fmla="*/ 36 w 124"/>
                <a:gd name="T3" fmla="*/ 17 h 146"/>
                <a:gd name="T4" fmla="*/ 16 w 124"/>
                <a:gd name="T5" fmla="*/ 42 h 146"/>
                <a:gd name="T6" fmla="*/ 13 w 124"/>
                <a:gd name="T7" fmla="*/ 64 h 146"/>
                <a:gd name="T8" fmla="*/ 14 w 124"/>
                <a:gd name="T9" fmla="*/ 67 h 146"/>
                <a:gd name="T10" fmla="*/ 12 w 124"/>
                <a:gd name="T11" fmla="*/ 71 h 146"/>
                <a:gd name="T12" fmla="*/ 3 w 124"/>
                <a:gd name="T13" fmla="*/ 85 h 146"/>
                <a:gd name="T14" fmla="*/ 6 w 124"/>
                <a:gd name="T15" fmla="*/ 93 h 146"/>
                <a:gd name="T16" fmla="*/ 12 w 124"/>
                <a:gd name="T17" fmla="*/ 101 h 146"/>
                <a:gd name="T18" fmla="*/ 13 w 124"/>
                <a:gd name="T19" fmla="*/ 110 h 146"/>
                <a:gd name="T20" fmla="*/ 13 w 124"/>
                <a:gd name="T21" fmla="*/ 110 h 146"/>
                <a:gd name="T22" fmla="*/ 13 w 124"/>
                <a:gd name="T23" fmla="*/ 118 h 146"/>
                <a:gd name="T24" fmla="*/ 20 w 124"/>
                <a:gd name="T25" fmla="*/ 126 h 146"/>
                <a:gd name="T26" fmla="*/ 29 w 124"/>
                <a:gd name="T27" fmla="*/ 125 h 146"/>
                <a:gd name="T28" fmla="*/ 40 w 124"/>
                <a:gd name="T29" fmla="*/ 135 h 146"/>
                <a:gd name="T30" fmla="*/ 46 w 124"/>
                <a:gd name="T31" fmla="*/ 143 h 146"/>
                <a:gd name="T32" fmla="*/ 83 w 124"/>
                <a:gd name="T33" fmla="*/ 140 h 146"/>
                <a:gd name="T34" fmla="*/ 90 w 124"/>
                <a:gd name="T35" fmla="*/ 140 h 146"/>
                <a:gd name="T36" fmla="*/ 99 w 124"/>
                <a:gd name="T37" fmla="*/ 142 h 146"/>
                <a:gd name="T38" fmla="*/ 98 w 124"/>
                <a:gd name="T39" fmla="*/ 132 h 146"/>
                <a:gd name="T40" fmla="*/ 96 w 124"/>
                <a:gd name="T41" fmla="*/ 124 h 146"/>
                <a:gd name="T42" fmla="*/ 102 w 124"/>
                <a:gd name="T43" fmla="*/ 98 h 146"/>
                <a:gd name="T44" fmla="*/ 110 w 124"/>
                <a:gd name="T45" fmla="*/ 88 h 146"/>
                <a:gd name="T46" fmla="*/ 113 w 124"/>
                <a:gd name="T47" fmla="*/ 83 h 146"/>
                <a:gd name="T48" fmla="*/ 111 w 124"/>
                <a:gd name="T49" fmla="*/ 2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146">
                  <a:moveTo>
                    <a:pt x="111" y="29"/>
                  </a:moveTo>
                  <a:cubicBezTo>
                    <a:pt x="94" y="5"/>
                    <a:pt x="60" y="0"/>
                    <a:pt x="36" y="17"/>
                  </a:cubicBezTo>
                  <a:cubicBezTo>
                    <a:pt x="26" y="24"/>
                    <a:pt x="20" y="33"/>
                    <a:pt x="16" y="42"/>
                  </a:cubicBezTo>
                  <a:cubicBezTo>
                    <a:pt x="13" y="49"/>
                    <a:pt x="12" y="56"/>
                    <a:pt x="13" y="64"/>
                  </a:cubicBezTo>
                  <a:cubicBezTo>
                    <a:pt x="13" y="65"/>
                    <a:pt x="13" y="66"/>
                    <a:pt x="14" y="67"/>
                  </a:cubicBezTo>
                  <a:cubicBezTo>
                    <a:pt x="13" y="68"/>
                    <a:pt x="13" y="70"/>
                    <a:pt x="12" y="71"/>
                  </a:cubicBezTo>
                  <a:cubicBezTo>
                    <a:pt x="9" y="76"/>
                    <a:pt x="6" y="80"/>
                    <a:pt x="3" y="85"/>
                  </a:cubicBezTo>
                  <a:cubicBezTo>
                    <a:pt x="0" y="90"/>
                    <a:pt x="0" y="91"/>
                    <a:pt x="6" y="93"/>
                  </a:cubicBezTo>
                  <a:cubicBezTo>
                    <a:pt x="10" y="94"/>
                    <a:pt x="12" y="97"/>
                    <a:pt x="12" y="101"/>
                  </a:cubicBezTo>
                  <a:cubicBezTo>
                    <a:pt x="13" y="104"/>
                    <a:pt x="13" y="107"/>
                    <a:pt x="13" y="110"/>
                  </a:cubicBezTo>
                  <a:cubicBezTo>
                    <a:pt x="13" y="110"/>
                    <a:pt x="13" y="110"/>
                    <a:pt x="13" y="110"/>
                  </a:cubicBezTo>
                  <a:cubicBezTo>
                    <a:pt x="13" y="113"/>
                    <a:pt x="12" y="115"/>
                    <a:pt x="13" y="118"/>
                  </a:cubicBezTo>
                  <a:cubicBezTo>
                    <a:pt x="13" y="122"/>
                    <a:pt x="15" y="125"/>
                    <a:pt x="20" y="126"/>
                  </a:cubicBezTo>
                  <a:cubicBezTo>
                    <a:pt x="23" y="126"/>
                    <a:pt x="26" y="126"/>
                    <a:pt x="29" y="125"/>
                  </a:cubicBezTo>
                  <a:cubicBezTo>
                    <a:pt x="36" y="125"/>
                    <a:pt x="39" y="127"/>
                    <a:pt x="40" y="135"/>
                  </a:cubicBezTo>
                  <a:cubicBezTo>
                    <a:pt x="40" y="140"/>
                    <a:pt x="41" y="141"/>
                    <a:pt x="46" y="143"/>
                  </a:cubicBezTo>
                  <a:cubicBezTo>
                    <a:pt x="59" y="146"/>
                    <a:pt x="71" y="143"/>
                    <a:pt x="83" y="140"/>
                  </a:cubicBezTo>
                  <a:cubicBezTo>
                    <a:pt x="90" y="140"/>
                    <a:pt x="90" y="140"/>
                    <a:pt x="90" y="140"/>
                  </a:cubicBezTo>
                  <a:cubicBezTo>
                    <a:pt x="93" y="139"/>
                    <a:pt x="99" y="140"/>
                    <a:pt x="99" y="142"/>
                  </a:cubicBezTo>
                  <a:cubicBezTo>
                    <a:pt x="99" y="142"/>
                    <a:pt x="98" y="133"/>
                    <a:pt x="98" y="132"/>
                  </a:cubicBezTo>
                  <a:cubicBezTo>
                    <a:pt x="98" y="132"/>
                    <a:pt x="98" y="128"/>
                    <a:pt x="96" y="124"/>
                  </a:cubicBezTo>
                  <a:cubicBezTo>
                    <a:pt x="95" y="115"/>
                    <a:pt x="96" y="106"/>
                    <a:pt x="102" y="98"/>
                  </a:cubicBezTo>
                  <a:cubicBezTo>
                    <a:pt x="105" y="95"/>
                    <a:pt x="107" y="91"/>
                    <a:pt x="110" y="88"/>
                  </a:cubicBezTo>
                  <a:cubicBezTo>
                    <a:pt x="111" y="86"/>
                    <a:pt x="112" y="85"/>
                    <a:pt x="113" y="83"/>
                  </a:cubicBezTo>
                  <a:cubicBezTo>
                    <a:pt x="124" y="67"/>
                    <a:pt x="124" y="46"/>
                    <a:pt x="111" y="2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6" name="Freeform 184">
              <a:extLst>
                <a:ext uri="{FF2B5EF4-FFF2-40B4-BE49-F238E27FC236}">
                  <a16:creationId xmlns:a16="http://schemas.microsoft.com/office/drawing/2014/main" id="{756BF833-2753-E065-72B0-698286368A07}"/>
                </a:ext>
              </a:extLst>
            </p:cNvPr>
            <p:cNvSpPr>
              <a:spLocks/>
            </p:cNvSpPr>
            <p:nvPr/>
          </p:nvSpPr>
          <p:spPr bwMode="auto">
            <a:xfrm>
              <a:off x="7609970" y="2309049"/>
              <a:ext cx="260168" cy="211338"/>
            </a:xfrm>
            <a:custGeom>
              <a:avLst/>
              <a:gdLst>
                <a:gd name="T0" fmla="*/ 26 w 91"/>
                <a:gd name="T1" fmla="*/ 48 h 75"/>
                <a:gd name="T2" fmla="*/ 26 w 91"/>
                <a:gd name="T3" fmla="*/ 50 h 75"/>
                <a:gd name="T4" fmla="*/ 40 w 91"/>
                <a:gd name="T5" fmla="*/ 60 h 75"/>
                <a:gd name="T6" fmla="*/ 46 w 91"/>
                <a:gd name="T7" fmla="*/ 55 h 75"/>
                <a:gd name="T8" fmla="*/ 50 w 91"/>
                <a:gd name="T9" fmla="*/ 54 h 75"/>
                <a:gd name="T10" fmla="*/ 49 w 91"/>
                <a:gd name="T11" fmla="*/ 58 h 75"/>
                <a:gd name="T12" fmla="*/ 36 w 91"/>
                <a:gd name="T13" fmla="*/ 65 h 75"/>
                <a:gd name="T14" fmla="*/ 43 w 91"/>
                <a:gd name="T15" fmla="*/ 69 h 75"/>
                <a:gd name="T16" fmla="*/ 47 w 91"/>
                <a:gd name="T17" fmla="*/ 69 h 75"/>
                <a:gd name="T18" fmla="*/ 53 w 91"/>
                <a:gd name="T19" fmla="*/ 70 h 75"/>
                <a:gd name="T20" fmla="*/ 57 w 91"/>
                <a:gd name="T21" fmla="*/ 71 h 75"/>
                <a:gd name="T22" fmla="*/ 72 w 91"/>
                <a:gd name="T23" fmla="*/ 69 h 75"/>
                <a:gd name="T24" fmla="*/ 75 w 91"/>
                <a:gd name="T25" fmla="*/ 64 h 75"/>
                <a:gd name="T26" fmla="*/ 85 w 91"/>
                <a:gd name="T27" fmla="*/ 55 h 75"/>
                <a:gd name="T28" fmla="*/ 86 w 91"/>
                <a:gd name="T29" fmla="*/ 52 h 75"/>
                <a:gd name="T30" fmla="*/ 89 w 91"/>
                <a:gd name="T31" fmla="*/ 36 h 75"/>
                <a:gd name="T32" fmla="*/ 80 w 91"/>
                <a:gd name="T33" fmla="*/ 33 h 75"/>
                <a:gd name="T34" fmla="*/ 78 w 91"/>
                <a:gd name="T35" fmla="*/ 35 h 75"/>
                <a:gd name="T36" fmla="*/ 75 w 91"/>
                <a:gd name="T37" fmla="*/ 35 h 75"/>
                <a:gd name="T38" fmla="*/ 75 w 91"/>
                <a:gd name="T39" fmla="*/ 32 h 75"/>
                <a:gd name="T40" fmla="*/ 83 w 91"/>
                <a:gd name="T41" fmla="*/ 28 h 75"/>
                <a:gd name="T42" fmla="*/ 86 w 91"/>
                <a:gd name="T43" fmla="*/ 24 h 75"/>
                <a:gd name="T44" fmla="*/ 81 w 91"/>
                <a:gd name="T45" fmla="*/ 18 h 75"/>
                <a:gd name="T46" fmla="*/ 75 w 91"/>
                <a:gd name="T47" fmla="*/ 13 h 75"/>
                <a:gd name="T48" fmla="*/ 67 w 91"/>
                <a:gd name="T49" fmla="*/ 8 h 75"/>
                <a:gd name="T50" fmla="*/ 65 w 91"/>
                <a:gd name="T51" fmla="*/ 7 h 75"/>
                <a:gd name="T52" fmla="*/ 56 w 91"/>
                <a:gd name="T53" fmla="*/ 4 h 75"/>
                <a:gd name="T54" fmla="*/ 55 w 91"/>
                <a:gd name="T55" fmla="*/ 4 h 75"/>
                <a:gd name="T56" fmla="*/ 42 w 91"/>
                <a:gd name="T57" fmla="*/ 4 h 75"/>
                <a:gd name="T58" fmla="*/ 29 w 91"/>
                <a:gd name="T59" fmla="*/ 7 h 75"/>
                <a:gd name="T60" fmla="*/ 21 w 91"/>
                <a:gd name="T61" fmla="*/ 8 h 75"/>
                <a:gd name="T62" fmla="*/ 18 w 91"/>
                <a:gd name="T63" fmla="*/ 13 h 75"/>
                <a:gd name="T64" fmla="*/ 23 w 91"/>
                <a:gd name="T65" fmla="*/ 14 h 75"/>
                <a:gd name="T66" fmla="*/ 26 w 91"/>
                <a:gd name="T67" fmla="*/ 14 h 75"/>
                <a:gd name="T68" fmla="*/ 25 w 91"/>
                <a:gd name="T69" fmla="*/ 17 h 75"/>
                <a:gd name="T70" fmla="*/ 15 w 91"/>
                <a:gd name="T71" fmla="*/ 16 h 75"/>
                <a:gd name="T72" fmla="*/ 13 w 91"/>
                <a:gd name="T73" fmla="*/ 13 h 75"/>
                <a:gd name="T74" fmla="*/ 9 w 91"/>
                <a:gd name="T75" fmla="*/ 20 h 75"/>
                <a:gd name="T76" fmla="*/ 1 w 91"/>
                <a:gd name="T77" fmla="*/ 27 h 75"/>
                <a:gd name="T78" fmla="*/ 5 w 91"/>
                <a:gd name="T79" fmla="*/ 37 h 75"/>
                <a:gd name="T80" fmla="*/ 14 w 91"/>
                <a:gd name="T81" fmla="*/ 34 h 75"/>
                <a:gd name="T82" fmla="*/ 17 w 91"/>
                <a:gd name="T83" fmla="*/ 33 h 75"/>
                <a:gd name="T84" fmla="*/ 17 w 91"/>
                <a:gd name="T85" fmla="*/ 36 h 75"/>
                <a:gd name="T86" fmla="*/ 10 w 91"/>
                <a:gd name="T87" fmla="*/ 43 h 75"/>
                <a:gd name="T88" fmla="*/ 26 w 91"/>
                <a:gd name="T89" fmla="*/ 4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1" h="75">
                  <a:moveTo>
                    <a:pt x="26" y="48"/>
                  </a:moveTo>
                  <a:cubicBezTo>
                    <a:pt x="26" y="49"/>
                    <a:pt x="26" y="50"/>
                    <a:pt x="26" y="50"/>
                  </a:cubicBezTo>
                  <a:cubicBezTo>
                    <a:pt x="26" y="58"/>
                    <a:pt x="33" y="63"/>
                    <a:pt x="40" y="60"/>
                  </a:cubicBezTo>
                  <a:cubicBezTo>
                    <a:pt x="42" y="58"/>
                    <a:pt x="44" y="56"/>
                    <a:pt x="46" y="55"/>
                  </a:cubicBezTo>
                  <a:cubicBezTo>
                    <a:pt x="47" y="54"/>
                    <a:pt x="49" y="54"/>
                    <a:pt x="50" y="54"/>
                  </a:cubicBezTo>
                  <a:cubicBezTo>
                    <a:pt x="50" y="55"/>
                    <a:pt x="50" y="57"/>
                    <a:pt x="49" y="58"/>
                  </a:cubicBezTo>
                  <a:cubicBezTo>
                    <a:pt x="46" y="62"/>
                    <a:pt x="41" y="64"/>
                    <a:pt x="36" y="65"/>
                  </a:cubicBezTo>
                  <a:cubicBezTo>
                    <a:pt x="37" y="68"/>
                    <a:pt x="40" y="68"/>
                    <a:pt x="43" y="69"/>
                  </a:cubicBezTo>
                  <a:cubicBezTo>
                    <a:pt x="44" y="69"/>
                    <a:pt x="45" y="69"/>
                    <a:pt x="47" y="69"/>
                  </a:cubicBezTo>
                  <a:cubicBezTo>
                    <a:pt x="49" y="69"/>
                    <a:pt x="51" y="70"/>
                    <a:pt x="53" y="70"/>
                  </a:cubicBezTo>
                  <a:cubicBezTo>
                    <a:pt x="55" y="70"/>
                    <a:pt x="56" y="70"/>
                    <a:pt x="57" y="71"/>
                  </a:cubicBezTo>
                  <a:cubicBezTo>
                    <a:pt x="62" y="75"/>
                    <a:pt x="68" y="74"/>
                    <a:pt x="72" y="69"/>
                  </a:cubicBezTo>
                  <a:cubicBezTo>
                    <a:pt x="73" y="68"/>
                    <a:pt x="74" y="66"/>
                    <a:pt x="75" y="64"/>
                  </a:cubicBezTo>
                  <a:cubicBezTo>
                    <a:pt x="82" y="64"/>
                    <a:pt x="83" y="63"/>
                    <a:pt x="85" y="55"/>
                  </a:cubicBezTo>
                  <a:cubicBezTo>
                    <a:pt x="85" y="54"/>
                    <a:pt x="86" y="53"/>
                    <a:pt x="86" y="52"/>
                  </a:cubicBezTo>
                  <a:cubicBezTo>
                    <a:pt x="90" y="47"/>
                    <a:pt x="91" y="42"/>
                    <a:pt x="89" y="36"/>
                  </a:cubicBezTo>
                  <a:cubicBezTo>
                    <a:pt x="88" y="31"/>
                    <a:pt x="83" y="30"/>
                    <a:pt x="80" y="33"/>
                  </a:cubicBezTo>
                  <a:cubicBezTo>
                    <a:pt x="79" y="34"/>
                    <a:pt x="79" y="35"/>
                    <a:pt x="78" y="35"/>
                  </a:cubicBezTo>
                  <a:cubicBezTo>
                    <a:pt x="77" y="35"/>
                    <a:pt x="76" y="35"/>
                    <a:pt x="75" y="35"/>
                  </a:cubicBezTo>
                  <a:cubicBezTo>
                    <a:pt x="75" y="34"/>
                    <a:pt x="75" y="33"/>
                    <a:pt x="75" y="32"/>
                  </a:cubicBezTo>
                  <a:cubicBezTo>
                    <a:pt x="77" y="29"/>
                    <a:pt x="80" y="28"/>
                    <a:pt x="83" y="28"/>
                  </a:cubicBezTo>
                  <a:cubicBezTo>
                    <a:pt x="86" y="28"/>
                    <a:pt x="87" y="26"/>
                    <a:pt x="86" y="24"/>
                  </a:cubicBezTo>
                  <a:cubicBezTo>
                    <a:pt x="85" y="22"/>
                    <a:pt x="83" y="20"/>
                    <a:pt x="81" y="18"/>
                  </a:cubicBezTo>
                  <a:cubicBezTo>
                    <a:pt x="81" y="14"/>
                    <a:pt x="80" y="14"/>
                    <a:pt x="75" y="13"/>
                  </a:cubicBezTo>
                  <a:cubicBezTo>
                    <a:pt x="73" y="8"/>
                    <a:pt x="73" y="8"/>
                    <a:pt x="67" y="8"/>
                  </a:cubicBezTo>
                  <a:cubicBezTo>
                    <a:pt x="66" y="8"/>
                    <a:pt x="65" y="8"/>
                    <a:pt x="65" y="7"/>
                  </a:cubicBezTo>
                  <a:cubicBezTo>
                    <a:pt x="63" y="4"/>
                    <a:pt x="60" y="3"/>
                    <a:pt x="56" y="4"/>
                  </a:cubicBezTo>
                  <a:cubicBezTo>
                    <a:pt x="56" y="4"/>
                    <a:pt x="55" y="4"/>
                    <a:pt x="55" y="4"/>
                  </a:cubicBezTo>
                  <a:cubicBezTo>
                    <a:pt x="50" y="0"/>
                    <a:pt x="46" y="1"/>
                    <a:pt x="42" y="4"/>
                  </a:cubicBezTo>
                  <a:cubicBezTo>
                    <a:pt x="36" y="2"/>
                    <a:pt x="33" y="3"/>
                    <a:pt x="29" y="7"/>
                  </a:cubicBezTo>
                  <a:cubicBezTo>
                    <a:pt x="26" y="7"/>
                    <a:pt x="23" y="7"/>
                    <a:pt x="21" y="8"/>
                  </a:cubicBezTo>
                  <a:cubicBezTo>
                    <a:pt x="19" y="9"/>
                    <a:pt x="17" y="10"/>
                    <a:pt x="18" y="13"/>
                  </a:cubicBezTo>
                  <a:cubicBezTo>
                    <a:pt x="19" y="15"/>
                    <a:pt x="21" y="15"/>
                    <a:pt x="23" y="14"/>
                  </a:cubicBezTo>
                  <a:cubicBezTo>
                    <a:pt x="24" y="13"/>
                    <a:pt x="25" y="14"/>
                    <a:pt x="26" y="14"/>
                  </a:cubicBezTo>
                  <a:cubicBezTo>
                    <a:pt x="25" y="15"/>
                    <a:pt x="26" y="17"/>
                    <a:pt x="25" y="17"/>
                  </a:cubicBezTo>
                  <a:cubicBezTo>
                    <a:pt x="22" y="20"/>
                    <a:pt x="18" y="19"/>
                    <a:pt x="15" y="16"/>
                  </a:cubicBezTo>
                  <a:cubicBezTo>
                    <a:pt x="15" y="15"/>
                    <a:pt x="14" y="14"/>
                    <a:pt x="13" y="13"/>
                  </a:cubicBezTo>
                  <a:cubicBezTo>
                    <a:pt x="9" y="14"/>
                    <a:pt x="9" y="17"/>
                    <a:pt x="9" y="20"/>
                  </a:cubicBezTo>
                  <a:cubicBezTo>
                    <a:pt x="4" y="22"/>
                    <a:pt x="2" y="23"/>
                    <a:pt x="1" y="27"/>
                  </a:cubicBezTo>
                  <a:cubicBezTo>
                    <a:pt x="0" y="31"/>
                    <a:pt x="2" y="35"/>
                    <a:pt x="5" y="37"/>
                  </a:cubicBezTo>
                  <a:cubicBezTo>
                    <a:pt x="8" y="39"/>
                    <a:pt x="11" y="38"/>
                    <a:pt x="14" y="34"/>
                  </a:cubicBezTo>
                  <a:cubicBezTo>
                    <a:pt x="15" y="33"/>
                    <a:pt x="16" y="33"/>
                    <a:pt x="17" y="33"/>
                  </a:cubicBezTo>
                  <a:cubicBezTo>
                    <a:pt x="17" y="34"/>
                    <a:pt x="18" y="36"/>
                    <a:pt x="17" y="36"/>
                  </a:cubicBezTo>
                  <a:cubicBezTo>
                    <a:pt x="15" y="39"/>
                    <a:pt x="13" y="41"/>
                    <a:pt x="10" y="43"/>
                  </a:cubicBezTo>
                  <a:cubicBezTo>
                    <a:pt x="14" y="48"/>
                    <a:pt x="19" y="48"/>
                    <a:pt x="26" y="4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57" name="Group 56">
              <a:extLst>
                <a:ext uri="{FF2B5EF4-FFF2-40B4-BE49-F238E27FC236}">
                  <a16:creationId xmlns:a16="http://schemas.microsoft.com/office/drawing/2014/main" id="{03A565B1-61B4-EA1D-1C5C-323417862B64}"/>
                </a:ext>
              </a:extLst>
            </p:cNvPr>
            <p:cNvGrpSpPr/>
            <p:nvPr/>
          </p:nvGrpSpPr>
          <p:grpSpPr>
            <a:xfrm>
              <a:off x="7695632" y="2327926"/>
              <a:ext cx="100548" cy="142860"/>
              <a:chOff x="7695632" y="2327926"/>
              <a:chExt cx="100548" cy="142860"/>
            </a:xfrm>
            <a:solidFill>
              <a:schemeClr val="bg1"/>
            </a:solidFill>
          </p:grpSpPr>
          <p:sp>
            <p:nvSpPr>
              <p:cNvPr id="58" name="Freeform 185">
                <a:extLst>
                  <a:ext uri="{FF2B5EF4-FFF2-40B4-BE49-F238E27FC236}">
                    <a16:creationId xmlns:a16="http://schemas.microsoft.com/office/drawing/2014/main" id="{F7226380-5E15-7F58-BD72-E9060B9DA36C}"/>
                  </a:ext>
                </a:extLst>
              </p:cNvPr>
              <p:cNvSpPr>
                <a:spLocks/>
              </p:cNvSpPr>
              <p:nvPr/>
            </p:nvSpPr>
            <p:spPr bwMode="auto">
              <a:xfrm>
                <a:off x="7726802" y="2374554"/>
                <a:ext cx="47256" cy="51589"/>
              </a:xfrm>
              <a:custGeom>
                <a:avLst/>
                <a:gdLst>
                  <a:gd name="T0" fmla="*/ 17 w 20"/>
                  <a:gd name="T1" fmla="*/ 22 h 22"/>
                  <a:gd name="T2" fmla="*/ 11 w 20"/>
                  <a:gd name="T3" fmla="*/ 16 h 22"/>
                  <a:gd name="T4" fmla="*/ 7 w 20"/>
                  <a:gd name="T5" fmla="*/ 12 h 22"/>
                  <a:gd name="T6" fmla="*/ 0 w 20"/>
                  <a:gd name="T7" fmla="*/ 4 h 22"/>
                  <a:gd name="T8" fmla="*/ 1 w 20"/>
                  <a:gd name="T9" fmla="*/ 0 h 22"/>
                  <a:gd name="T10" fmla="*/ 4 w 20"/>
                  <a:gd name="T11" fmla="*/ 2 h 22"/>
                  <a:gd name="T12" fmla="*/ 12 w 20"/>
                  <a:gd name="T13" fmla="*/ 9 h 22"/>
                  <a:gd name="T14" fmla="*/ 14 w 20"/>
                  <a:gd name="T15" fmla="*/ 12 h 22"/>
                  <a:gd name="T16" fmla="*/ 18 w 20"/>
                  <a:gd name="T17" fmla="*/ 17 h 22"/>
                  <a:gd name="T18" fmla="*/ 20 w 20"/>
                  <a:gd name="T19" fmla="*/ 20 h 22"/>
                  <a:gd name="T20" fmla="*/ 17 w 20"/>
                  <a:gd name="T2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
                    <a:moveTo>
                      <a:pt x="17" y="22"/>
                    </a:moveTo>
                    <a:cubicBezTo>
                      <a:pt x="15" y="20"/>
                      <a:pt x="12" y="18"/>
                      <a:pt x="11" y="16"/>
                    </a:cubicBezTo>
                    <a:cubicBezTo>
                      <a:pt x="10" y="14"/>
                      <a:pt x="9" y="13"/>
                      <a:pt x="7" y="12"/>
                    </a:cubicBezTo>
                    <a:cubicBezTo>
                      <a:pt x="3" y="10"/>
                      <a:pt x="1" y="7"/>
                      <a:pt x="0" y="4"/>
                    </a:cubicBezTo>
                    <a:cubicBezTo>
                      <a:pt x="0" y="3"/>
                      <a:pt x="1" y="2"/>
                      <a:pt x="1" y="0"/>
                    </a:cubicBezTo>
                    <a:cubicBezTo>
                      <a:pt x="2" y="1"/>
                      <a:pt x="4" y="1"/>
                      <a:pt x="4" y="2"/>
                    </a:cubicBezTo>
                    <a:cubicBezTo>
                      <a:pt x="5" y="6"/>
                      <a:pt x="8" y="8"/>
                      <a:pt x="12" y="9"/>
                    </a:cubicBezTo>
                    <a:cubicBezTo>
                      <a:pt x="13" y="9"/>
                      <a:pt x="14" y="11"/>
                      <a:pt x="14" y="12"/>
                    </a:cubicBezTo>
                    <a:cubicBezTo>
                      <a:pt x="15" y="14"/>
                      <a:pt x="15" y="16"/>
                      <a:pt x="18" y="17"/>
                    </a:cubicBezTo>
                    <a:cubicBezTo>
                      <a:pt x="19" y="17"/>
                      <a:pt x="20" y="19"/>
                      <a:pt x="20" y="20"/>
                    </a:cubicBezTo>
                    <a:cubicBezTo>
                      <a:pt x="20" y="20"/>
                      <a:pt x="18" y="21"/>
                      <a:pt x="17"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9" name="Freeform 186">
                <a:extLst>
                  <a:ext uri="{FF2B5EF4-FFF2-40B4-BE49-F238E27FC236}">
                    <a16:creationId xmlns:a16="http://schemas.microsoft.com/office/drawing/2014/main" id="{FE9E1B01-D13F-DF8F-09CB-024A1F8C1EF1}"/>
                  </a:ext>
                </a:extLst>
              </p:cNvPr>
              <p:cNvSpPr>
                <a:spLocks/>
              </p:cNvSpPr>
              <p:nvPr/>
            </p:nvSpPr>
            <p:spPr bwMode="auto">
              <a:xfrm>
                <a:off x="7750934" y="2327926"/>
                <a:ext cx="45246" cy="34724"/>
              </a:xfrm>
              <a:custGeom>
                <a:avLst/>
                <a:gdLst>
                  <a:gd name="T0" fmla="*/ 4 w 19"/>
                  <a:gd name="T1" fmla="*/ 7 h 15"/>
                  <a:gd name="T2" fmla="*/ 3 w 19"/>
                  <a:gd name="T3" fmla="*/ 3 h 15"/>
                  <a:gd name="T4" fmla="*/ 4 w 19"/>
                  <a:gd name="T5" fmla="*/ 1 h 15"/>
                  <a:gd name="T6" fmla="*/ 6 w 19"/>
                  <a:gd name="T7" fmla="*/ 1 h 15"/>
                  <a:gd name="T8" fmla="*/ 8 w 19"/>
                  <a:gd name="T9" fmla="*/ 4 h 15"/>
                  <a:gd name="T10" fmla="*/ 11 w 19"/>
                  <a:gd name="T11" fmla="*/ 7 h 15"/>
                  <a:gd name="T12" fmla="*/ 19 w 19"/>
                  <a:gd name="T13" fmla="*/ 12 h 15"/>
                  <a:gd name="T14" fmla="*/ 18 w 19"/>
                  <a:gd name="T15" fmla="*/ 15 h 15"/>
                  <a:gd name="T16" fmla="*/ 15 w 19"/>
                  <a:gd name="T17" fmla="*/ 14 h 15"/>
                  <a:gd name="T18" fmla="*/ 4 w 19"/>
                  <a:gd name="T19" fmla="*/ 11 h 15"/>
                  <a:gd name="T20" fmla="*/ 0 w 19"/>
                  <a:gd name="T21" fmla="*/ 11 h 15"/>
                  <a:gd name="T22" fmla="*/ 3 w 19"/>
                  <a:gd name="T23" fmla="*/ 8 h 15"/>
                  <a:gd name="T24" fmla="*/ 4 w 19"/>
                  <a:gd name="T25"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5">
                    <a:moveTo>
                      <a:pt x="4" y="7"/>
                    </a:moveTo>
                    <a:cubicBezTo>
                      <a:pt x="4" y="5"/>
                      <a:pt x="3" y="4"/>
                      <a:pt x="3" y="3"/>
                    </a:cubicBezTo>
                    <a:cubicBezTo>
                      <a:pt x="3" y="2"/>
                      <a:pt x="3" y="1"/>
                      <a:pt x="4" y="1"/>
                    </a:cubicBezTo>
                    <a:cubicBezTo>
                      <a:pt x="4" y="0"/>
                      <a:pt x="6" y="1"/>
                      <a:pt x="6" y="1"/>
                    </a:cubicBezTo>
                    <a:cubicBezTo>
                      <a:pt x="7" y="2"/>
                      <a:pt x="7" y="3"/>
                      <a:pt x="8" y="4"/>
                    </a:cubicBezTo>
                    <a:cubicBezTo>
                      <a:pt x="8" y="6"/>
                      <a:pt x="9" y="7"/>
                      <a:pt x="11" y="7"/>
                    </a:cubicBezTo>
                    <a:cubicBezTo>
                      <a:pt x="14" y="7"/>
                      <a:pt x="17" y="9"/>
                      <a:pt x="19" y="12"/>
                    </a:cubicBezTo>
                    <a:cubicBezTo>
                      <a:pt x="19" y="13"/>
                      <a:pt x="18" y="14"/>
                      <a:pt x="18" y="15"/>
                    </a:cubicBezTo>
                    <a:cubicBezTo>
                      <a:pt x="17" y="15"/>
                      <a:pt x="16" y="15"/>
                      <a:pt x="15" y="14"/>
                    </a:cubicBezTo>
                    <a:cubicBezTo>
                      <a:pt x="12" y="10"/>
                      <a:pt x="9" y="10"/>
                      <a:pt x="4" y="11"/>
                    </a:cubicBezTo>
                    <a:cubicBezTo>
                      <a:pt x="3" y="12"/>
                      <a:pt x="2" y="11"/>
                      <a:pt x="0" y="11"/>
                    </a:cubicBezTo>
                    <a:cubicBezTo>
                      <a:pt x="1" y="10"/>
                      <a:pt x="2" y="9"/>
                      <a:pt x="3" y="8"/>
                    </a:cubicBezTo>
                    <a:cubicBezTo>
                      <a:pt x="3" y="7"/>
                      <a:pt x="4" y="7"/>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0" name="Freeform 188">
                <a:extLst>
                  <a:ext uri="{FF2B5EF4-FFF2-40B4-BE49-F238E27FC236}">
                    <a16:creationId xmlns:a16="http://schemas.microsoft.com/office/drawing/2014/main" id="{E4EB4256-68C5-AF4F-6FB1-05CA8312692A}"/>
                  </a:ext>
                </a:extLst>
              </p:cNvPr>
              <p:cNvSpPr>
                <a:spLocks/>
              </p:cNvSpPr>
              <p:nvPr/>
            </p:nvSpPr>
            <p:spPr bwMode="auto">
              <a:xfrm>
                <a:off x="7745906" y="2446976"/>
                <a:ext cx="42230" cy="23810"/>
              </a:xfrm>
              <a:custGeom>
                <a:avLst/>
                <a:gdLst>
                  <a:gd name="T0" fmla="*/ 10 w 18"/>
                  <a:gd name="T1" fmla="*/ 10 h 10"/>
                  <a:gd name="T2" fmla="*/ 1 w 18"/>
                  <a:gd name="T3" fmla="*/ 4 h 10"/>
                  <a:gd name="T4" fmla="*/ 1 w 18"/>
                  <a:gd name="T5" fmla="*/ 0 h 10"/>
                  <a:gd name="T6" fmla="*/ 4 w 18"/>
                  <a:gd name="T7" fmla="*/ 2 h 10"/>
                  <a:gd name="T8" fmla="*/ 12 w 18"/>
                  <a:gd name="T9" fmla="*/ 6 h 10"/>
                  <a:gd name="T10" fmla="*/ 17 w 18"/>
                  <a:gd name="T11" fmla="*/ 6 h 10"/>
                  <a:gd name="T12" fmla="*/ 14 w 18"/>
                  <a:gd name="T13" fmla="*/ 9 h 10"/>
                  <a:gd name="T14" fmla="*/ 10 w 18"/>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0">
                    <a:moveTo>
                      <a:pt x="10" y="10"/>
                    </a:moveTo>
                    <a:cubicBezTo>
                      <a:pt x="6" y="10"/>
                      <a:pt x="2" y="7"/>
                      <a:pt x="1" y="4"/>
                    </a:cubicBezTo>
                    <a:cubicBezTo>
                      <a:pt x="0" y="3"/>
                      <a:pt x="1" y="2"/>
                      <a:pt x="1" y="0"/>
                    </a:cubicBezTo>
                    <a:cubicBezTo>
                      <a:pt x="2" y="1"/>
                      <a:pt x="4" y="1"/>
                      <a:pt x="4" y="2"/>
                    </a:cubicBezTo>
                    <a:cubicBezTo>
                      <a:pt x="7" y="6"/>
                      <a:pt x="8" y="6"/>
                      <a:pt x="12" y="6"/>
                    </a:cubicBezTo>
                    <a:cubicBezTo>
                      <a:pt x="14" y="5"/>
                      <a:pt x="16" y="6"/>
                      <a:pt x="17" y="6"/>
                    </a:cubicBezTo>
                    <a:cubicBezTo>
                      <a:pt x="18" y="9"/>
                      <a:pt x="15" y="9"/>
                      <a:pt x="14" y="9"/>
                    </a:cubicBezTo>
                    <a:cubicBezTo>
                      <a:pt x="12" y="10"/>
                      <a:pt x="11" y="10"/>
                      <a:pt x="1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1" name="Freeform 189">
                <a:extLst>
                  <a:ext uri="{FF2B5EF4-FFF2-40B4-BE49-F238E27FC236}">
                    <a16:creationId xmlns:a16="http://schemas.microsoft.com/office/drawing/2014/main" id="{996CB1E6-4769-FED1-3D7E-2E2262923107}"/>
                  </a:ext>
                </a:extLst>
              </p:cNvPr>
              <p:cNvSpPr>
                <a:spLocks/>
              </p:cNvSpPr>
              <p:nvPr/>
            </p:nvSpPr>
            <p:spPr bwMode="auto">
              <a:xfrm>
                <a:off x="7695632" y="2371577"/>
                <a:ext cx="17093" cy="35716"/>
              </a:xfrm>
              <a:custGeom>
                <a:avLst/>
                <a:gdLst>
                  <a:gd name="T0" fmla="*/ 0 w 7"/>
                  <a:gd name="T1" fmla="*/ 9 h 15"/>
                  <a:gd name="T2" fmla="*/ 2 w 7"/>
                  <a:gd name="T3" fmla="*/ 3 h 15"/>
                  <a:gd name="T4" fmla="*/ 4 w 7"/>
                  <a:gd name="T5" fmla="*/ 1 h 15"/>
                  <a:gd name="T6" fmla="*/ 6 w 7"/>
                  <a:gd name="T7" fmla="*/ 0 h 15"/>
                  <a:gd name="T8" fmla="*/ 6 w 7"/>
                  <a:gd name="T9" fmla="*/ 5 h 15"/>
                  <a:gd name="T10" fmla="*/ 5 w 7"/>
                  <a:gd name="T11" fmla="*/ 13 h 15"/>
                  <a:gd name="T12" fmla="*/ 3 w 7"/>
                  <a:gd name="T13" fmla="*/ 15 h 15"/>
                  <a:gd name="T14" fmla="*/ 0 w 7"/>
                  <a:gd name="T15" fmla="*/ 10 h 15"/>
                  <a:gd name="T16" fmla="*/ 0 w 7"/>
                  <a:gd name="T17"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5">
                    <a:moveTo>
                      <a:pt x="0" y="9"/>
                    </a:moveTo>
                    <a:cubicBezTo>
                      <a:pt x="0" y="7"/>
                      <a:pt x="1" y="5"/>
                      <a:pt x="2" y="3"/>
                    </a:cubicBezTo>
                    <a:cubicBezTo>
                      <a:pt x="3" y="3"/>
                      <a:pt x="3" y="1"/>
                      <a:pt x="4" y="1"/>
                    </a:cubicBezTo>
                    <a:cubicBezTo>
                      <a:pt x="4" y="0"/>
                      <a:pt x="5" y="0"/>
                      <a:pt x="6" y="0"/>
                    </a:cubicBezTo>
                    <a:cubicBezTo>
                      <a:pt x="7" y="2"/>
                      <a:pt x="7" y="3"/>
                      <a:pt x="6" y="5"/>
                    </a:cubicBezTo>
                    <a:cubicBezTo>
                      <a:pt x="4" y="7"/>
                      <a:pt x="4" y="10"/>
                      <a:pt x="5" y="13"/>
                    </a:cubicBezTo>
                    <a:cubicBezTo>
                      <a:pt x="5" y="14"/>
                      <a:pt x="4" y="15"/>
                      <a:pt x="3" y="15"/>
                    </a:cubicBezTo>
                    <a:cubicBezTo>
                      <a:pt x="1" y="15"/>
                      <a:pt x="0" y="12"/>
                      <a:pt x="0" y="10"/>
                    </a:cubicBezTo>
                    <a:cubicBezTo>
                      <a:pt x="0" y="9"/>
                      <a:pt x="0" y="9"/>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sp>
        <p:nvSpPr>
          <p:cNvPr id="62" name="TextBox 61">
            <a:extLst>
              <a:ext uri="{FF2B5EF4-FFF2-40B4-BE49-F238E27FC236}">
                <a16:creationId xmlns:a16="http://schemas.microsoft.com/office/drawing/2014/main" id="{786C14BB-3D47-3CB7-00E0-7AED03B6242D}"/>
              </a:ext>
            </a:extLst>
          </p:cNvPr>
          <p:cNvSpPr txBox="1"/>
          <p:nvPr/>
        </p:nvSpPr>
        <p:spPr>
          <a:xfrm>
            <a:off x="8773548" y="2635498"/>
            <a:ext cx="1031409" cy="246221"/>
          </a:xfrm>
          <a:prstGeom prst="rect">
            <a:avLst/>
          </a:prstGeom>
          <a:noFill/>
        </p:spPr>
        <p:txBody>
          <a:bodyPr wrap="square" rtlCol="0">
            <a:spAutoFit/>
          </a:bodyPr>
          <a:lstStyle/>
          <a:p>
            <a:pPr algn="ctr"/>
            <a:r>
              <a:rPr lang="en-US" sz="1000" b="1">
                <a:solidFill>
                  <a:schemeClr val="bg1"/>
                </a:solidFill>
              </a:rPr>
              <a:t>Testing</a:t>
            </a:r>
          </a:p>
        </p:txBody>
      </p:sp>
      <p:grpSp>
        <p:nvGrpSpPr>
          <p:cNvPr id="64" name="Group 63">
            <a:extLst>
              <a:ext uri="{FF2B5EF4-FFF2-40B4-BE49-F238E27FC236}">
                <a16:creationId xmlns:a16="http://schemas.microsoft.com/office/drawing/2014/main" id="{70AB6CF2-1139-4083-631F-22F6EBBA3201}"/>
              </a:ext>
            </a:extLst>
          </p:cNvPr>
          <p:cNvGrpSpPr/>
          <p:nvPr/>
        </p:nvGrpSpPr>
        <p:grpSpPr>
          <a:xfrm>
            <a:off x="10517196" y="2293823"/>
            <a:ext cx="743040" cy="271276"/>
            <a:chOff x="10696256" y="1747122"/>
            <a:chExt cx="668828" cy="244182"/>
          </a:xfrm>
          <a:solidFill>
            <a:schemeClr val="bg1"/>
          </a:solidFill>
        </p:grpSpPr>
        <p:sp>
          <p:nvSpPr>
            <p:cNvPr id="65" name="Freeform 34">
              <a:extLst>
                <a:ext uri="{FF2B5EF4-FFF2-40B4-BE49-F238E27FC236}">
                  <a16:creationId xmlns:a16="http://schemas.microsoft.com/office/drawing/2014/main" id="{295850D3-4BF3-6FE9-6DF8-7283023F2E3C}"/>
                </a:ext>
              </a:extLst>
            </p:cNvPr>
            <p:cNvSpPr>
              <a:spLocks/>
            </p:cNvSpPr>
            <p:nvPr/>
          </p:nvSpPr>
          <p:spPr bwMode="auto">
            <a:xfrm>
              <a:off x="11097816" y="1747122"/>
              <a:ext cx="267268" cy="118791"/>
            </a:xfrm>
            <a:custGeom>
              <a:avLst/>
              <a:gdLst>
                <a:gd name="T0" fmla="*/ 86 w 86"/>
                <a:gd name="T1" fmla="*/ 38 h 38"/>
                <a:gd name="T2" fmla="*/ 86 w 86"/>
                <a:gd name="T3" fmla="*/ 34 h 38"/>
                <a:gd name="T4" fmla="*/ 73 w 86"/>
                <a:gd name="T5" fmla="*/ 21 h 38"/>
                <a:gd name="T6" fmla="*/ 69 w 86"/>
                <a:gd name="T7" fmla="*/ 22 h 38"/>
                <a:gd name="T8" fmla="*/ 44 w 86"/>
                <a:gd name="T9" fmla="*/ 0 h 38"/>
                <a:gd name="T10" fmla="*/ 20 w 86"/>
                <a:gd name="T11" fmla="*/ 19 h 38"/>
                <a:gd name="T12" fmla="*/ 16 w 86"/>
                <a:gd name="T13" fmla="*/ 18 h 38"/>
                <a:gd name="T14" fmla="*/ 0 w 86"/>
                <a:gd name="T15" fmla="*/ 34 h 38"/>
                <a:gd name="T16" fmla="*/ 0 w 86"/>
                <a:gd name="T17" fmla="*/ 38 h 38"/>
                <a:gd name="T18" fmla="*/ 86 w 86"/>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38">
                  <a:moveTo>
                    <a:pt x="86" y="38"/>
                  </a:moveTo>
                  <a:cubicBezTo>
                    <a:pt x="86" y="37"/>
                    <a:pt x="86" y="36"/>
                    <a:pt x="86" y="34"/>
                  </a:cubicBezTo>
                  <a:cubicBezTo>
                    <a:pt x="86" y="27"/>
                    <a:pt x="80" y="21"/>
                    <a:pt x="73" y="21"/>
                  </a:cubicBezTo>
                  <a:cubicBezTo>
                    <a:pt x="72" y="21"/>
                    <a:pt x="70" y="22"/>
                    <a:pt x="69" y="22"/>
                  </a:cubicBezTo>
                  <a:cubicBezTo>
                    <a:pt x="67" y="10"/>
                    <a:pt x="57" y="0"/>
                    <a:pt x="44" y="0"/>
                  </a:cubicBezTo>
                  <a:cubicBezTo>
                    <a:pt x="32" y="0"/>
                    <a:pt x="23" y="8"/>
                    <a:pt x="20" y="19"/>
                  </a:cubicBezTo>
                  <a:cubicBezTo>
                    <a:pt x="18" y="18"/>
                    <a:pt x="17" y="18"/>
                    <a:pt x="16" y="18"/>
                  </a:cubicBezTo>
                  <a:cubicBezTo>
                    <a:pt x="7" y="18"/>
                    <a:pt x="0" y="25"/>
                    <a:pt x="0" y="34"/>
                  </a:cubicBezTo>
                  <a:cubicBezTo>
                    <a:pt x="0" y="36"/>
                    <a:pt x="0" y="37"/>
                    <a:pt x="0" y="38"/>
                  </a:cubicBezTo>
                  <a:lnTo>
                    <a:pt x="86" y="38"/>
                  </a:lnTo>
                  <a:close/>
                </a:path>
              </a:pathLst>
            </a:custGeom>
            <a:grpFill/>
            <a:ln>
              <a:noFill/>
            </a:ln>
          </p:spPr>
          <p:txBody>
            <a:bodyPr vert="horz" wrap="square" lIns="91440" tIns="45720" rIns="91440" bIns="45720" numCol="1" anchor="t" anchorCtr="0" compatLnSpc="1">
              <a:prstTxWarp prst="textNoShape">
                <a:avLst/>
              </a:prstTxWarp>
            </a:bodyPr>
            <a:lstStyle/>
            <a:p>
              <a:endParaRPr lang="en-IE">
                <a:solidFill>
                  <a:schemeClr val="bg1"/>
                </a:solidFill>
              </a:endParaRPr>
            </a:p>
          </p:txBody>
        </p:sp>
        <p:sp>
          <p:nvSpPr>
            <p:cNvPr id="66" name="Freeform 35">
              <a:extLst>
                <a:ext uri="{FF2B5EF4-FFF2-40B4-BE49-F238E27FC236}">
                  <a16:creationId xmlns:a16="http://schemas.microsoft.com/office/drawing/2014/main" id="{A1906B80-F72E-FAC9-F8FC-83CB98F7F27C}"/>
                </a:ext>
              </a:extLst>
            </p:cNvPr>
            <p:cNvSpPr>
              <a:spLocks/>
            </p:cNvSpPr>
            <p:nvPr/>
          </p:nvSpPr>
          <p:spPr bwMode="auto">
            <a:xfrm>
              <a:off x="10696256" y="1797278"/>
              <a:ext cx="442367" cy="194026"/>
            </a:xfrm>
            <a:custGeom>
              <a:avLst/>
              <a:gdLst>
                <a:gd name="T0" fmla="*/ 141 w 142"/>
                <a:gd name="T1" fmla="*/ 62 h 62"/>
                <a:gd name="T2" fmla="*/ 142 w 142"/>
                <a:gd name="T3" fmla="*/ 56 h 62"/>
                <a:gd name="T4" fmla="*/ 121 w 142"/>
                <a:gd name="T5" fmla="*/ 35 h 62"/>
                <a:gd name="T6" fmla="*/ 114 w 142"/>
                <a:gd name="T7" fmla="*/ 36 h 62"/>
                <a:gd name="T8" fmla="*/ 73 w 142"/>
                <a:gd name="T9" fmla="*/ 0 h 62"/>
                <a:gd name="T10" fmla="*/ 33 w 142"/>
                <a:gd name="T11" fmla="*/ 30 h 62"/>
                <a:gd name="T12" fmla="*/ 27 w 142"/>
                <a:gd name="T13" fmla="*/ 30 h 62"/>
                <a:gd name="T14" fmla="*/ 0 w 142"/>
                <a:gd name="T15" fmla="*/ 56 h 62"/>
                <a:gd name="T16" fmla="*/ 0 w 142"/>
                <a:gd name="T17" fmla="*/ 62 h 62"/>
                <a:gd name="T18" fmla="*/ 141 w 142"/>
                <a:gd name="T1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62">
                  <a:moveTo>
                    <a:pt x="141" y="62"/>
                  </a:moveTo>
                  <a:cubicBezTo>
                    <a:pt x="142" y="60"/>
                    <a:pt x="142" y="58"/>
                    <a:pt x="142" y="56"/>
                  </a:cubicBezTo>
                  <a:cubicBezTo>
                    <a:pt x="142" y="44"/>
                    <a:pt x="132" y="35"/>
                    <a:pt x="121" y="35"/>
                  </a:cubicBezTo>
                  <a:cubicBezTo>
                    <a:pt x="118" y="35"/>
                    <a:pt x="116" y="35"/>
                    <a:pt x="114" y="36"/>
                  </a:cubicBezTo>
                  <a:cubicBezTo>
                    <a:pt x="111" y="16"/>
                    <a:pt x="93" y="0"/>
                    <a:pt x="73" y="0"/>
                  </a:cubicBezTo>
                  <a:cubicBezTo>
                    <a:pt x="54" y="0"/>
                    <a:pt x="38" y="13"/>
                    <a:pt x="33" y="30"/>
                  </a:cubicBezTo>
                  <a:cubicBezTo>
                    <a:pt x="31" y="30"/>
                    <a:pt x="29" y="30"/>
                    <a:pt x="27" y="30"/>
                  </a:cubicBezTo>
                  <a:cubicBezTo>
                    <a:pt x="12" y="30"/>
                    <a:pt x="0" y="41"/>
                    <a:pt x="0" y="56"/>
                  </a:cubicBezTo>
                  <a:cubicBezTo>
                    <a:pt x="0" y="58"/>
                    <a:pt x="0" y="60"/>
                    <a:pt x="0" y="62"/>
                  </a:cubicBezTo>
                  <a:lnTo>
                    <a:pt x="141" y="62"/>
                  </a:lnTo>
                  <a:close/>
                </a:path>
              </a:pathLst>
            </a:custGeom>
            <a:grpFill/>
            <a:ln>
              <a:noFill/>
            </a:ln>
          </p:spPr>
          <p:txBody>
            <a:bodyPr vert="horz" wrap="square" lIns="91440" tIns="45720" rIns="91440" bIns="45720" numCol="1" anchor="t" anchorCtr="0" compatLnSpc="1">
              <a:prstTxWarp prst="textNoShape">
                <a:avLst/>
              </a:prstTxWarp>
            </a:bodyPr>
            <a:lstStyle/>
            <a:p>
              <a:endParaRPr lang="en-IE">
                <a:solidFill>
                  <a:schemeClr val="bg1"/>
                </a:solidFill>
              </a:endParaRPr>
            </a:p>
          </p:txBody>
        </p:sp>
      </p:grpSp>
      <p:grpSp>
        <p:nvGrpSpPr>
          <p:cNvPr id="67" name="Google Shape;3628;p35">
            <a:extLst>
              <a:ext uri="{FF2B5EF4-FFF2-40B4-BE49-F238E27FC236}">
                <a16:creationId xmlns:a16="http://schemas.microsoft.com/office/drawing/2014/main" id="{FDDAFDE8-65E4-D360-CE82-94B274DBF374}"/>
              </a:ext>
            </a:extLst>
          </p:cNvPr>
          <p:cNvGrpSpPr/>
          <p:nvPr/>
        </p:nvGrpSpPr>
        <p:grpSpPr>
          <a:xfrm>
            <a:off x="2867138" y="2149311"/>
            <a:ext cx="402843" cy="385235"/>
            <a:chOff x="5045500" y="842250"/>
            <a:chExt cx="503875" cy="481850"/>
          </a:xfrm>
          <a:solidFill>
            <a:schemeClr val="bg1"/>
          </a:solidFill>
        </p:grpSpPr>
        <p:sp>
          <p:nvSpPr>
            <p:cNvPr id="68" name="Google Shape;3629;p35">
              <a:extLst>
                <a:ext uri="{FF2B5EF4-FFF2-40B4-BE49-F238E27FC236}">
                  <a16:creationId xmlns:a16="http://schemas.microsoft.com/office/drawing/2014/main" id="{98E2E1FC-18C4-D912-B7A5-C102653C7457}"/>
                </a:ext>
              </a:extLst>
            </p:cNvPr>
            <p:cNvSpPr/>
            <p:nvPr/>
          </p:nvSpPr>
          <p:spPr>
            <a:xfrm>
              <a:off x="5045500" y="842250"/>
              <a:ext cx="503875" cy="481850"/>
            </a:xfrm>
            <a:custGeom>
              <a:avLst/>
              <a:gdLst/>
              <a:ahLst/>
              <a:cxnLst/>
              <a:rect l="l" t="t" r="r" b="b"/>
              <a:pathLst>
                <a:path w="20155" h="19274" extrusionOk="0">
                  <a:moveTo>
                    <a:pt x="12103" y="1130"/>
                  </a:moveTo>
                  <a:cubicBezTo>
                    <a:pt x="13694" y="1130"/>
                    <a:pt x="15284" y="1735"/>
                    <a:pt x="16496" y="2945"/>
                  </a:cubicBezTo>
                  <a:cubicBezTo>
                    <a:pt x="18917" y="5366"/>
                    <a:pt x="18917" y="9305"/>
                    <a:pt x="16496" y="11729"/>
                  </a:cubicBezTo>
                  <a:cubicBezTo>
                    <a:pt x="15286" y="12940"/>
                    <a:pt x="13695" y="13545"/>
                    <a:pt x="12104" y="13545"/>
                  </a:cubicBezTo>
                  <a:cubicBezTo>
                    <a:pt x="10514" y="13545"/>
                    <a:pt x="8923" y="12940"/>
                    <a:pt x="7712" y="11729"/>
                  </a:cubicBezTo>
                  <a:cubicBezTo>
                    <a:pt x="5288" y="9305"/>
                    <a:pt x="5288" y="5369"/>
                    <a:pt x="7712" y="2945"/>
                  </a:cubicBezTo>
                  <a:cubicBezTo>
                    <a:pt x="8923" y="1735"/>
                    <a:pt x="10513" y="1130"/>
                    <a:pt x="12103" y="1130"/>
                  </a:cubicBezTo>
                  <a:close/>
                  <a:moveTo>
                    <a:pt x="4918" y="13726"/>
                  </a:moveTo>
                  <a:lnTo>
                    <a:pt x="5716" y="14524"/>
                  </a:lnTo>
                  <a:lnTo>
                    <a:pt x="4918" y="15322"/>
                  </a:lnTo>
                  <a:lnTo>
                    <a:pt x="4120" y="14524"/>
                  </a:lnTo>
                  <a:lnTo>
                    <a:pt x="4918" y="13726"/>
                  </a:lnTo>
                  <a:close/>
                  <a:moveTo>
                    <a:pt x="12106" y="1"/>
                  </a:moveTo>
                  <a:cubicBezTo>
                    <a:pt x="10226" y="1"/>
                    <a:pt x="8345" y="717"/>
                    <a:pt x="6914" y="2147"/>
                  </a:cubicBezTo>
                  <a:cubicBezTo>
                    <a:pt x="4725" y="4333"/>
                    <a:pt x="4240" y="7516"/>
                    <a:pt x="5315" y="10133"/>
                  </a:cubicBezTo>
                  <a:lnTo>
                    <a:pt x="4518" y="10931"/>
                  </a:lnTo>
                  <a:cubicBezTo>
                    <a:pt x="4009" y="11434"/>
                    <a:pt x="3876" y="12208"/>
                    <a:pt x="4192" y="12852"/>
                  </a:cubicBezTo>
                  <a:lnTo>
                    <a:pt x="663" y="16382"/>
                  </a:lnTo>
                  <a:cubicBezTo>
                    <a:pt x="1" y="17044"/>
                    <a:pt x="1" y="18116"/>
                    <a:pt x="663" y="18778"/>
                  </a:cubicBezTo>
                  <a:cubicBezTo>
                    <a:pt x="994" y="19108"/>
                    <a:pt x="1428" y="19273"/>
                    <a:pt x="1862" y="19273"/>
                  </a:cubicBezTo>
                  <a:cubicBezTo>
                    <a:pt x="2295" y="19273"/>
                    <a:pt x="2729" y="19108"/>
                    <a:pt x="3060" y="18778"/>
                  </a:cubicBezTo>
                  <a:lnTo>
                    <a:pt x="6586" y="15249"/>
                  </a:lnTo>
                  <a:cubicBezTo>
                    <a:pt x="6820" y="15363"/>
                    <a:pt x="7071" y="15418"/>
                    <a:pt x="7320" y="15418"/>
                  </a:cubicBezTo>
                  <a:cubicBezTo>
                    <a:pt x="7757" y="15418"/>
                    <a:pt x="8188" y="15247"/>
                    <a:pt x="8510" y="14921"/>
                  </a:cubicBezTo>
                  <a:lnTo>
                    <a:pt x="9308" y="14126"/>
                  </a:lnTo>
                  <a:cubicBezTo>
                    <a:pt x="10192" y="14489"/>
                    <a:pt x="11145" y="14675"/>
                    <a:pt x="12104" y="14675"/>
                  </a:cubicBezTo>
                  <a:cubicBezTo>
                    <a:pt x="13962" y="14675"/>
                    <a:pt x="15843" y="13979"/>
                    <a:pt x="17294" y="12527"/>
                  </a:cubicBezTo>
                  <a:cubicBezTo>
                    <a:pt x="20155" y="9666"/>
                    <a:pt x="20155" y="5008"/>
                    <a:pt x="17294" y="2147"/>
                  </a:cubicBezTo>
                  <a:cubicBezTo>
                    <a:pt x="15864" y="716"/>
                    <a:pt x="13985" y="1"/>
                    <a:pt x="12106" y="1"/>
                  </a:cubicBezTo>
                  <a:close/>
                </a:path>
              </a:pathLst>
            </a:custGeom>
            <a:grpFill/>
            <a:ln>
              <a:noFill/>
            </a:ln>
          </p:spPr>
          <p:txBody>
            <a:bodyPr spcFirstLastPara="1" wrap="square" lIns="45707" tIns="45707" rIns="45707" bIns="45707" anchor="ctr" anchorCtr="0">
              <a:noAutofit/>
            </a:bodyPr>
            <a:lstStyle/>
            <a:p>
              <a:endParaRPr sz="700">
                <a:solidFill>
                  <a:srgbClr val="435D74"/>
                </a:solidFill>
              </a:endParaRPr>
            </a:p>
          </p:txBody>
        </p:sp>
        <p:sp>
          <p:nvSpPr>
            <p:cNvPr id="69" name="Google Shape;3630;p35">
              <a:extLst>
                <a:ext uri="{FF2B5EF4-FFF2-40B4-BE49-F238E27FC236}">
                  <a16:creationId xmlns:a16="http://schemas.microsoft.com/office/drawing/2014/main" id="{BC976FB8-DD60-93BA-394D-321E29E7563A}"/>
                </a:ext>
              </a:extLst>
            </p:cNvPr>
            <p:cNvSpPr/>
            <p:nvPr/>
          </p:nvSpPr>
          <p:spPr>
            <a:xfrm>
              <a:off x="5221050" y="898625"/>
              <a:ext cx="254100" cy="254100"/>
            </a:xfrm>
            <a:custGeom>
              <a:avLst/>
              <a:gdLst/>
              <a:ahLst/>
              <a:cxnLst/>
              <a:rect l="l" t="t" r="r" b="b"/>
              <a:pathLst>
                <a:path w="10164" h="10164" extrusionOk="0">
                  <a:moveTo>
                    <a:pt x="5081" y="1"/>
                  </a:moveTo>
                  <a:cubicBezTo>
                    <a:pt x="2274" y="1"/>
                    <a:pt x="1" y="2274"/>
                    <a:pt x="1" y="5081"/>
                  </a:cubicBezTo>
                  <a:cubicBezTo>
                    <a:pt x="1" y="7887"/>
                    <a:pt x="2274" y="10164"/>
                    <a:pt x="5081" y="10164"/>
                  </a:cubicBezTo>
                  <a:cubicBezTo>
                    <a:pt x="7887" y="10164"/>
                    <a:pt x="10164" y="7887"/>
                    <a:pt x="10164" y="5081"/>
                  </a:cubicBezTo>
                  <a:cubicBezTo>
                    <a:pt x="10164" y="2274"/>
                    <a:pt x="7887" y="1"/>
                    <a:pt x="5081" y="1"/>
                  </a:cubicBezTo>
                  <a:close/>
                </a:path>
              </a:pathLst>
            </a:custGeom>
            <a:grpFill/>
            <a:ln>
              <a:noFill/>
            </a:ln>
          </p:spPr>
          <p:txBody>
            <a:bodyPr spcFirstLastPara="1" wrap="square" lIns="45707" tIns="45707" rIns="45707" bIns="45707" anchor="ctr" anchorCtr="0">
              <a:noAutofit/>
            </a:bodyPr>
            <a:lstStyle/>
            <a:p>
              <a:endParaRPr sz="700">
                <a:solidFill>
                  <a:srgbClr val="435D74"/>
                </a:solidFill>
              </a:endParaRPr>
            </a:p>
          </p:txBody>
        </p:sp>
      </p:grpSp>
      <p:grpSp>
        <p:nvGrpSpPr>
          <p:cNvPr id="70" name="Google Shape;3628;p35">
            <a:extLst>
              <a:ext uri="{FF2B5EF4-FFF2-40B4-BE49-F238E27FC236}">
                <a16:creationId xmlns:a16="http://schemas.microsoft.com/office/drawing/2014/main" id="{BA05F26D-43A0-35FF-95CC-5D85AA8CFA25}"/>
              </a:ext>
            </a:extLst>
          </p:cNvPr>
          <p:cNvGrpSpPr/>
          <p:nvPr/>
        </p:nvGrpSpPr>
        <p:grpSpPr>
          <a:xfrm>
            <a:off x="1143895" y="2149311"/>
            <a:ext cx="402843" cy="385235"/>
            <a:chOff x="5045500" y="842250"/>
            <a:chExt cx="503875" cy="481850"/>
          </a:xfrm>
          <a:solidFill>
            <a:schemeClr val="bg1"/>
          </a:solidFill>
        </p:grpSpPr>
        <p:sp>
          <p:nvSpPr>
            <p:cNvPr id="71" name="Google Shape;3629;p35">
              <a:extLst>
                <a:ext uri="{FF2B5EF4-FFF2-40B4-BE49-F238E27FC236}">
                  <a16:creationId xmlns:a16="http://schemas.microsoft.com/office/drawing/2014/main" id="{483A8462-7425-34AC-DF78-95E17ADDA300}"/>
                </a:ext>
              </a:extLst>
            </p:cNvPr>
            <p:cNvSpPr/>
            <p:nvPr/>
          </p:nvSpPr>
          <p:spPr>
            <a:xfrm>
              <a:off x="5045500" y="842250"/>
              <a:ext cx="503875" cy="481850"/>
            </a:xfrm>
            <a:custGeom>
              <a:avLst/>
              <a:gdLst/>
              <a:ahLst/>
              <a:cxnLst/>
              <a:rect l="l" t="t" r="r" b="b"/>
              <a:pathLst>
                <a:path w="20155" h="19274" extrusionOk="0">
                  <a:moveTo>
                    <a:pt x="12103" y="1130"/>
                  </a:moveTo>
                  <a:cubicBezTo>
                    <a:pt x="13694" y="1130"/>
                    <a:pt x="15284" y="1735"/>
                    <a:pt x="16496" y="2945"/>
                  </a:cubicBezTo>
                  <a:cubicBezTo>
                    <a:pt x="18917" y="5366"/>
                    <a:pt x="18917" y="9305"/>
                    <a:pt x="16496" y="11729"/>
                  </a:cubicBezTo>
                  <a:cubicBezTo>
                    <a:pt x="15286" y="12940"/>
                    <a:pt x="13695" y="13545"/>
                    <a:pt x="12104" y="13545"/>
                  </a:cubicBezTo>
                  <a:cubicBezTo>
                    <a:pt x="10514" y="13545"/>
                    <a:pt x="8923" y="12940"/>
                    <a:pt x="7712" y="11729"/>
                  </a:cubicBezTo>
                  <a:cubicBezTo>
                    <a:pt x="5288" y="9305"/>
                    <a:pt x="5288" y="5369"/>
                    <a:pt x="7712" y="2945"/>
                  </a:cubicBezTo>
                  <a:cubicBezTo>
                    <a:pt x="8923" y="1735"/>
                    <a:pt x="10513" y="1130"/>
                    <a:pt x="12103" y="1130"/>
                  </a:cubicBezTo>
                  <a:close/>
                  <a:moveTo>
                    <a:pt x="4918" y="13726"/>
                  </a:moveTo>
                  <a:lnTo>
                    <a:pt x="5716" y="14524"/>
                  </a:lnTo>
                  <a:lnTo>
                    <a:pt x="4918" y="15322"/>
                  </a:lnTo>
                  <a:lnTo>
                    <a:pt x="4120" y="14524"/>
                  </a:lnTo>
                  <a:lnTo>
                    <a:pt x="4918" y="13726"/>
                  </a:lnTo>
                  <a:close/>
                  <a:moveTo>
                    <a:pt x="12106" y="1"/>
                  </a:moveTo>
                  <a:cubicBezTo>
                    <a:pt x="10226" y="1"/>
                    <a:pt x="8345" y="717"/>
                    <a:pt x="6914" y="2147"/>
                  </a:cubicBezTo>
                  <a:cubicBezTo>
                    <a:pt x="4725" y="4333"/>
                    <a:pt x="4240" y="7516"/>
                    <a:pt x="5315" y="10133"/>
                  </a:cubicBezTo>
                  <a:lnTo>
                    <a:pt x="4518" y="10931"/>
                  </a:lnTo>
                  <a:cubicBezTo>
                    <a:pt x="4009" y="11434"/>
                    <a:pt x="3876" y="12208"/>
                    <a:pt x="4192" y="12852"/>
                  </a:cubicBezTo>
                  <a:lnTo>
                    <a:pt x="663" y="16382"/>
                  </a:lnTo>
                  <a:cubicBezTo>
                    <a:pt x="1" y="17044"/>
                    <a:pt x="1" y="18116"/>
                    <a:pt x="663" y="18778"/>
                  </a:cubicBezTo>
                  <a:cubicBezTo>
                    <a:pt x="994" y="19108"/>
                    <a:pt x="1428" y="19273"/>
                    <a:pt x="1862" y="19273"/>
                  </a:cubicBezTo>
                  <a:cubicBezTo>
                    <a:pt x="2295" y="19273"/>
                    <a:pt x="2729" y="19108"/>
                    <a:pt x="3060" y="18778"/>
                  </a:cubicBezTo>
                  <a:lnTo>
                    <a:pt x="6586" y="15249"/>
                  </a:lnTo>
                  <a:cubicBezTo>
                    <a:pt x="6820" y="15363"/>
                    <a:pt x="7071" y="15418"/>
                    <a:pt x="7320" y="15418"/>
                  </a:cubicBezTo>
                  <a:cubicBezTo>
                    <a:pt x="7757" y="15418"/>
                    <a:pt x="8188" y="15247"/>
                    <a:pt x="8510" y="14921"/>
                  </a:cubicBezTo>
                  <a:lnTo>
                    <a:pt x="9308" y="14126"/>
                  </a:lnTo>
                  <a:cubicBezTo>
                    <a:pt x="10192" y="14489"/>
                    <a:pt x="11145" y="14675"/>
                    <a:pt x="12104" y="14675"/>
                  </a:cubicBezTo>
                  <a:cubicBezTo>
                    <a:pt x="13962" y="14675"/>
                    <a:pt x="15843" y="13979"/>
                    <a:pt x="17294" y="12527"/>
                  </a:cubicBezTo>
                  <a:cubicBezTo>
                    <a:pt x="20155" y="9666"/>
                    <a:pt x="20155" y="5008"/>
                    <a:pt x="17294" y="2147"/>
                  </a:cubicBezTo>
                  <a:cubicBezTo>
                    <a:pt x="15864" y="716"/>
                    <a:pt x="13985" y="1"/>
                    <a:pt x="12106" y="1"/>
                  </a:cubicBezTo>
                  <a:close/>
                </a:path>
              </a:pathLst>
            </a:custGeom>
            <a:grpFill/>
            <a:ln>
              <a:noFill/>
            </a:ln>
          </p:spPr>
          <p:txBody>
            <a:bodyPr spcFirstLastPara="1" wrap="square" lIns="45707" tIns="45707" rIns="45707" bIns="45707" anchor="ctr" anchorCtr="0">
              <a:noAutofit/>
            </a:bodyPr>
            <a:lstStyle/>
            <a:p>
              <a:endParaRPr sz="700">
                <a:solidFill>
                  <a:srgbClr val="435D74"/>
                </a:solidFill>
              </a:endParaRPr>
            </a:p>
          </p:txBody>
        </p:sp>
        <p:sp>
          <p:nvSpPr>
            <p:cNvPr id="72" name="Google Shape;3630;p35">
              <a:extLst>
                <a:ext uri="{FF2B5EF4-FFF2-40B4-BE49-F238E27FC236}">
                  <a16:creationId xmlns:a16="http://schemas.microsoft.com/office/drawing/2014/main" id="{85914D57-C0A5-BAB1-10F3-A024D808E699}"/>
                </a:ext>
              </a:extLst>
            </p:cNvPr>
            <p:cNvSpPr/>
            <p:nvPr/>
          </p:nvSpPr>
          <p:spPr>
            <a:xfrm>
              <a:off x="5221050" y="898625"/>
              <a:ext cx="254100" cy="254100"/>
            </a:xfrm>
            <a:custGeom>
              <a:avLst/>
              <a:gdLst/>
              <a:ahLst/>
              <a:cxnLst/>
              <a:rect l="l" t="t" r="r" b="b"/>
              <a:pathLst>
                <a:path w="10164" h="10164" extrusionOk="0">
                  <a:moveTo>
                    <a:pt x="5081" y="1"/>
                  </a:moveTo>
                  <a:cubicBezTo>
                    <a:pt x="2274" y="1"/>
                    <a:pt x="1" y="2274"/>
                    <a:pt x="1" y="5081"/>
                  </a:cubicBezTo>
                  <a:cubicBezTo>
                    <a:pt x="1" y="7887"/>
                    <a:pt x="2274" y="10164"/>
                    <a:pt x="5081" y="10164"/>
                  </a:cubicBezTo>
                  <a:cubicBezTo>
                    <a:pt x="7887" y="10164"/>
                    <a:pt x="10164" y="7887"/>
                    <a:pt x="10164" y="5081"/>
                  </a:cubicBezTo>
                  <a:cubicBezTo>
                    <a:pt x="10164" y="2274"/>
                    <a:pt x="7887" y="1"/>
                    <a:pt x="5081" y="1"/>
                  </a:cubicBezTo>
                  <a:close/>
                </a:path>
              </a:pathLst>
            </a:custGeom>
            <a:grpFill/>
            <a:ln>
              <a:noFill/>
            </a:ln>
          </p:spPr>
          <p:txBody>
            <a:bodyPr spcFirstLastPara="1" wrap="square" lIns="45707" tIns="45707" rIns="45707" bIns="45707" anchor="ctr" anchorCtr="0">
              <a:noAutofit/>
            </a:bodyPr>
            <a:lstStyle/>
            <a:p>
              <a:endParaRPr sz="700">
                <a:solidFill>
                  <a:srgbClr val="435D74"/>
                </a:solidFill>
              </a:endParaRPr>
            </a:p>
          </p:txBody>
        </p:sp>
      </p:grpSp>
      <p:grpSp>
        <p:nvGrpSpPr>
          <p:cNvPr id="73" name="Graphic 6">
            <a:extLst>
              <a:ext uri="{FF2B5EF4-FFF2-40B4-BE49-F238E27FC236}">
                <a16:creationId xmlns:a16="http://schemas.microsoft.com/office/drawing/2014/main" id="{6E1EACEC-A7E7-2CBA-494B-13D7257775C2}"/>
              </a:ext>
            </a:extLst>
          </p:cNvPr>
          <p:cNvGrpSpPr/>
          <p:nvPr/>
        </p:nvGrpSpPr>
        <p:grpSpPr>
          <a:xfrm>
            <a:off x="4458111" y="2220479"/>
            <a:ext cx="319000" cy="318997"/>
            <a:chOff x="6446032" y="5470773"/>
            <a:chExt cx="719342" cy="719336"/>
          </a:xfrm>
          <a:solidFill>
            <a:schemeClr val="bg1"/>
          </a:solidFill>
        </p:grpSpPr>
        <p:sp>
          <p:nvSpPr>
            <p:cNvPr id="74" name="Freeform: Shape 73">
              <a:extLst>
                <a:ext uri="{FF2B5EF4-FFF2-40B4-BE49-F238E27FC236}">
                  <a16:creationId xmlns:a16="http://schemas.microsoft.com/office/drawing/2014/main" id="{61D9D401-1858-8E24-722F-CDBFFD747E4A}"/>
                </a:ext>
              </a:extLst>
            </p:cNvPr>
            <p:cNvSpPr/>
            <p:nvPr/>
          </p:nvSpPr>
          <p:spPr>
            <a:xfrm>
              <a:off x="7067362" y="5962267"/>
              <a:ext cx="98011" cy="105402"/>
            </a:xfrm>
            <a:custGeom>
              <a:avLst/>
              <a:gdLst>
                <a:gd name="connsiteX0" fmla="*/ 0 w 98011"/>
                <a:gd name="connsiteY0" fmla="*/ 105402 h 105402"/>
                <a:gd name="connsiteX1" fmla="*/ 98012 w 98011"/>
                <a:gd name="connsiteY1" fmla="*/ 77013 h 105402"/>
                <a:gd name="connsiteX2" fmla="*/ 98012 w 98011"/>
                <a:gd name="connsiteY2" fmla="*/ 0 h 105402"/>
                <a:gd name="connsiteX3" fmla="*/ 0 w 98011"/>
                <a:gd name="connsiteY3" fmla="*/ 16296 h 105402"/>
              </a:gdLst>
              <a:ahLst/>
              <a:cxnLst>
                <a:cxn ang="0">
                  <a:pos x="connsiteX0" y="connsiteY0"/>
                </a:cxn>
                <a:cxn ang="0">
                  <a:pos x="connsiteX1" y="connsiteY1"/>
                </a:cxn>
                <a:cxn ang="0">
                  <a:pos x="connsiteX2" y="connsiteY2"/>
                </a:cxn>
                <a:cxn ang="0">
                  <a:pos x="connsiteX3" y="connsiteY3"/>
                </a:cxn>
              </a:cxnLst>
              <a:rect l="l" t="t" r="r" b="b"/>
              <a:pathLst>
                <a:path w="98011" h="105402">
                  <a:moveTo>
                    <a:pt x="0" y="105402"/>
                  </a:moveTo>
                  <a:lnTo>
                    <a:pt x="98012" y="77013"/>
                  </a:lnTo>
                  <a:lnTo>
                    <a:pt x="98012" y="0"/>
                  </a:lnTo>
                  <a:lnTo>
                    <a:pt x="0" y="16296"/>
                  </a:lnTo>
                  <a:close/>
                </a:path>
              </a:pathLst>
            </a:custGeom>
            <a:grpFill/>
            <a:ln w="1442"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83EFEB17-2AA7-983F-BCE5-645397ABFB43}"/>
                </a:ext>
              </a:extLst>
            </p:cNvPr>
            <p:cNvSpPr/>
            <p:nvPr/>
          </p:nvSpPr>
          <p:spPr>
            <a:xfrm>
              <a:off x="6845440" y="5984466"/>
              <a:ext cx="186864" cy="148115"/>
            </a:xfrm>
            <a:custGeom>
              <a:avLst/>
              <a:gdLst>
                <a:gd name="connsiteX0" fmla="*/ 0 w 186864"/>
                <a:gd name="connsiteY0" fmla="*/ 148116 h 148115"/>
                <a:gd name="connsiteX1" fmla="*/ 186865 w 186864"/>
                <a:gd name="connsiteY1" fmla="*/ 93558 h 148115"/>
                <a:gd name="connsiteX2" fmla="*/ 186865 w 186864"/>
                <a:gd name="connsiteY2" fmla="*/ 0 h 148115"/>
                <a:gd name="connsiteX3" fmla="*/ 0 w 186864"/>
                <a:gd name="connsiteY3" fmla="*/ 31114 h 148115"/>
              </a:gdLst>
              <a:ahLst/>
              <a:cxnLst>
                <a:cxn ang="0">
                  <a:pos x="connsiteX0" y="connsiteY0"/>
                </a:cxn>
                <a:cxn ang="0">
                  <a:pos x="connsiteX1" y="connsiteY1"/>
                </a:cxn>
                <a:cxn ang="0">
                  <a:pos x="connsiteX2" y="connsiteY2"/>
                </a:cxn>
                <a:cxn ang="0">
                  <a:pos x="connsiteX3" y="connsiteY3"/>
                </a:cxn>
              </a:cxnLst>
              <a:rect l="l" t="t" r="r" b="b"/>
              <a:pathLst>
                <a:path w="186864" h="148115">
                  <a:moveTo>
                    <a:pt x="0" y="148116"/>
                  </a:moveTo>
                  <a:lnTo>
                    <a:pt x="186865" y="93558"/>
                  </a:lnTo>
                  <a:lnTo>
                    <a:pt x="186865" y="0"/>
                  </a:lnTo>
                  <a:lnTo>
                    <a:pt x="0" y="31114"/>
                  </a:lnTo>
                  <a:close/>
                </a:path>
              </a:pathLst>
            </a:custGeom>
            <a:grpFill/>
            <a:ln w="1442"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B790B4D1-F96C-931F-20FE-22F9867D4302}"/>
                </a:ext>
              </a:extLst>
            </p:cNvPr>
            <p:cNvSpPr/>
            <p:nvPr/>
          </p:nvSpPr>
          <p:spPr>
            <a:xfrm>
              <a:off x="6667954" y="6021513"/>
              <a:ext cx="142448" cy="162905"/>
            </a:xfrm>
            <a:custGeom>
              <a:avLst/>
              <a:gdLst>
                <a:gd name="connsiteX0" fmla="*/ 0 w 142448"/>
                <a:gd name="connsiteY0" fmla="*/ 162905 h 162905"/>
                <a:gd name="connsiteX1" fmla="*/ 142448 w 142448"/>
                <a:gd name="connsiteY1" fmla="*/ 121207 h 162905"/>
                <a:gd name="connsiteX2" fmla="*/ 142448 w 142448"/>
                <a:gd name="connsiteY2" fmla="*/ 0 h 162905"/>
                <a:gd name="connsiteX3" fmla="*/ 0 w 142448"/>
                <a:gd name="connsiteY3" fmla="*/ 23692 h 162905"/>
              </a:gdLst>
              <a:ahLst/>
              <a:cxnLst>
                <a:cxn ang="0">
                  <a:pos x="connsiteX0" y="connsiteY0"/>
                </a:cxn>
                <a:cxn ang="0">
                  <a:pos x="connsiteX1" y="connsiteY1"/>
                </a:cxn>
                <a:cxn ang="0">
                  <a:pos x="connsiteX2" y="connsiteY2"/>
                </a:cxn>
                <a:cxn ang="0">
                  <a:pos x="connsiteX3" y="connsiteY3"/>
                </a:cxn>
              </a:cxnLst>
              <a:rect l="l" t="t" r="r" b="b"/>
              <a:pathLst>
                <a:path w="142448" h="162905">
                  <a:moveTo>
                    <a:pt x="0" y="162905"/>
                  </a:moveTo>
                  <a:lnTo>
                    <a:pt x="142448" y="121207"/>
                  </a:lnTo>
                  <a:lnTo>
                    <a:pt x="142448" y="0"/>
                  </a:lnTo>
                  <a:lnTo>
                    <a:pt x="0" y="23692"/>
                  </a:lnTo>
                  <a:close/>
                </a:path>
              </a:pathLst>
            </a:custGeom>
            <a:grpFill/>
            <a:ln w="1442"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DE9B94BF-1EFC-3E52-DD0F-BAD6FD49AB07}"/>
                </a:ext>
              </a:extLst>
            </p:cNvPr>
            <p:cNvSpPr/>
            <p:nvPr/>
          </p:nvSpPr>
          <p:spPr>
            <a:xfrm>
              <a:off x="6667940" y="5847972"/>
              <a:ext cx="253280" cy="161445"/>
            </a:xfrm>
            <a:custGeom>
              <a:avLst/>
              <a:gdLst>
                <a:gd name="connsiteX0" fmla="*/ 253281 w 253280"/>
                <a:gd name="connsiteY0" fmla="*/ 0 h 161445"/>
                <a:gd name="connsiteX1" fmla="*/ 0 w 253280"/>
                <a:gd name="connsiteY1" fmla="*/ 0 h 161445"/>
                <a:gd name="connsiteX2" fmla="*/ 0 w 253280"/>
                <a:gd name="connsiteY2" fmla="*/ 161445 h 161445"/>
                <a:gd name="connsiteX3" fmla="*/ 253281 w 253280"/>
                <a:gd name="connsiteY3" fmla="*/ 119233 h 161445"/>
              </a:gdLst>
              <a:ahLst/>
              <a:cxnLst>
                <a:cxn ang="0">
                  <a:pos x="connsiteX0" y="connsiteY0"/>
                </a:cxn>
                <a:cxn ang="0">
                  <a:pos x="connsiteX1" y="connsiteY1"/>
                </a:cxn>
                <a:cxn ang="0">
                  <a:pos x="connsiteX2" y="connsiteY2"/>
                </a:cxn>
                <a:cxn ang="0">
                  <a:pos x="connsiteX3" y="connsiteY3"/>
                </a:cxn>
              </a:cxnLst>
              <a:rect l="l" t="t" r="r" b="b"/>
              <a:pathLst>
                <a:path w="253280" h="161445">
                  <a:moveTo>
                    <a:pt x="253281" y="0"/>
                  </a:moveTo>
                  <a:lnTo>
                    <a:pt x="0" y="0"/>
                  </a:lnTo>
                  <a:lnTo>
                    <a:pt x="0" y="161445"/>
                  </a:lnTo>
                  <a:lnTo>
                    <a:pt x="253281" y="119233"/>
                  </a:lnTo>
                  <a:close/>
                </a:path>
              </a:pathLst>
            </a:custGeom>
            <a:grpFill/>
            <a:ln w="1442"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5A42A514-3F90-0D71-1248-497CA2D979FD}"/>
                </a:ext>
              </a:extLst>
            </p:cNvPr>
            <p:cNvSpPr/>
            <p:nvPr/>
          </p:nvSpPr>
          <p:spPr>
            <a:xfrm>
              <a:off x="6956539" y="5847983"/>
              <a:ext cx="208829" cy="113297"/>
            </a:xfrm>
            <a:custGeom>
              <a:avLst/>
              <a:gdLst>
                <a:gd name="connsiteX0" fmla="*/ 0 w 208829"/>
                <a:gd name="connsiteY0" fmla="*/ 113298 h 113297"/>
                <a:gd name="connsiteX1" fmla="*/ 208830 w 208829"/>
                <a:gd name="connsiteY1" fmla="*/ 78497 h 113297"/>
                <a:gd name="connsiteX2" fmla="*/ 208830 w 208829"/>
                <a:gd name="connsiteY2" fmla="*/ 0 h 113297"/>
                <a:gd name="connsiteX3" fmla="*/ 0 w 208829"/>
                <a:gd name="connsiteY3" fmla="*/ 0 h 113297"/>
              </a:gdLst>
              <a:ahLst/>
              <a:cxnLst>
                <a:cxn ang="0">
                  <a:pos x="connsiteX0" y="connsiteY0"/>
                </a:cxn>
                <a:cxn ang="0">
                  <a:pos x="connsiteX1" y="connsiteY1"/>
                </a:cxn>
                <a:cxn ang="0">
                  <a:pos x="connsiteX2" y="connsiteY2"/>
                </a:cxn>
                <a:cxn ang="0">
                  <a:pos x="connsiteX3" y="connsiteY3"/>
                </a:cxn>
              </a:cxnLst>
              <a:rect l="l" t="t" r="r" b="b"/>
              <a:pathLst>
                <a:path w="208829" h="113297">
                  <a:moveTo>
                    <a:pt x="0" y="113298"/>
                  </a:moveTo>
                  <a:lnTo>
                    <a:pt x="208830" y="78497"/>
                  </a:lnTo>
                  <a:lnTo>
                    <a:pt x="208830" y="0"/>
                  </a:lnTo>
                  <a:lnTo>
                    <a:pt x="0" y="0"/>
                  </a:lnTo>
                  <a:close/>
                </a:path>
              </a:pathLst>
            </a:custGeom>
            <a:grpFill/>
            <a:ln w="1442"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96BABC72-A750-FCE6-2C08-CBBD492AB657}"/>
                </a:ext>
              </a:extLst>
            </p:cNvPr>
            <p:cNvSpPr/>
            <p:nvPr/>
          </p:nvSpPr>
          <p:spPr>
            <a:xfrm>
              <a:off x="7067362" y="5718120"/>
              <a:ext cx="98011" cy="94793"/>
            </a:xfrm>
            <a:custGeom>
              <a:avLst/>
              <a:gdLst>
                <a:gd name="connsiteX0" fmla="*/ 0 w 98011"/>
                <a:gd name="connsiteY0" fmla="*/ 94794 h 94793"/>
                <a:gd name="connsiteX1" fmla="*/ 98012 w 98011"/>
                <a:gd name="connsiteY1" fmla="*/ 94794 h 94793"/>
                <a:gd name="connsiteX2" fmla="*/ 98012 w 98011"/>
                <a:gd name="connsiteY2" fmla="*/ 16296 h 94793"/>
                <a:gd name="connsiteX3" fmla="*/ 0 w 98011"/>
                <a:gd name="connsiteY3" fmla="*/ 0 h 94793"/>
              </a:gdLst>
              <a:ahLst/>
              <a:cxnLst>
                <a:cxn ang="0">
                  <a:pos x="connsiteX0" y="connsiteY0"/>
                </a:cxn>
                <a:cxn ang="0">
                  <a:pos x="connsiteX1" y="connsiteY1"/>
                </a:cxn>
                <a:cxn ang="0">
                  <a:pos x="connsiteX2" y="connsiteY2"/>
                </a:cxn>
                <a:cxn ang="0">
                  <a:pos x="connsiteX3" y="connsiteY3"/>
                </a:cxn>
              </a:cxnLst>
              <a:rect l="l" t="t" r="r" b="b"/>
              <a:pathLst>
                <a:path w="98011" h="94793">
                  <a:moveTo>
                    <a:pt x="0" y="94794"/>
                  </a:moveTo>
                  <a:lnTo>
                    <a:pt x="98012" y="94794"/>
                  </a:lnTo>
                  <a:lnTo>
                    <a:pt x="98012" y="16296"/>
                  </a:lnTo>
                  <a:lnTo>
                    <a:pt x="0" y="0"/>
                  </a:lnTo>
                  <a:close/>
                </a:path>
              </a:pathLst>
            </a:custGeom>
            <a:grpFill/>
            <a:ln w="1442"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391F36D2-A787-10B5-84BF-54746A658367}"/>
                </a:ext>
              </a:extLst>
            </p:cNvPr>
            <p:cNvSpPr/>
            <p:nvPr/>
          </p:nvSpPr>
          <p:spPr>
            <a:xfrm>
              <a:off x="6845440" y="5681094"/>
              <a:ext cx="186864" cy="131819"/>
            </a:xfrm>
            <a:custGeom>
              <a:avLst/>
              <a:gdLst>
                <a:gd name="connsiteX0" fmla="*/ 0 w 186864"/>
                <a:gd name="connsiteY0" fmla="*/ 131820 h 131819"/>
                <a:gd name="connsiteX1" fmla="*/ 186865 w 186864"/>
                <a:gd name="connsiteY1" fmla="*/ 131820 h 131819"/>
                <a:gd name="connsiteX2" fmla="*/ 186865 w 186864"/>
                <a:gd name="connsiteY2" fmla="*/ 31114 h 131819"/>
                <a:gd name="connsiteX3" fmla="*/ 0 w 186864"/>
                <a:gd name="connsiteY3" fmla="*/ 0 h 131819"/>
              </a:gdLst>
              <a:ahLst/>
              <a:cxnLst>
                <a:cxn ang="0">
                  <a:pos x="connsiteX0" y="connsiteY0"/>
                </a:cxn>
                <a:cxn ang="0">
                  <a:pos x="connsiteX1" y="connsiteY1"/>
                </a:cxn>
                <a:cxn ang="0">
                  <a:pos x="connsiteX2" y="connsiteY2"/>
                </a:cxn>
                <a:cxn ang="0">
                  <a:pos x="connsiteX3" y="connsiteY3"/>
                </a:cxn>
              </a:cxnLst>
              <a:rect l="l" t="t" r="r" b="b"/>
              <a:pathLst>
                <a:path w="186864" h="131819">
                  <a:moveTo>
                    <a:pt x="0" y="131820"/>
                  </a:moveTo>
                  <a:lnTo>
                    <a:pt x="186865" y="131820"/>
                  </a:lnTo>
                  <a:lnTo>
                    <a:pt x="186865" y="31114"/>
                  </a:lnTo>
                  <a:lnTo>
                    <a:pt x="0" y="0"/>
                  </a:lnTo>
                  <a:close/>
                </a:path>
              </a:pathLst>
            </a:custGeom>
            <a:grpFill/>
            <a:ln w="1442"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3B38A4C6-284B-BF38-DD9C-E8F7EE2D3C9C}"/>
                </a:ext>
              </a:extLst>
            </p:cNvPr>
            <p:cNvSpPr/>
            <p:nvPr/>
          </p:nvSpPr>
          <p:spPr>
            <a:xfrm>
              <a:off x="6956539" y="5560623"/>
              <a:ext cx="208829" cy="138000"/>
            </a:xfrm>
            <a:custGeom>
              <a:avLst/>
              <a:gdLst>
                <a:gd name="connsiteX0" fmla="*/ 0 w 208829"/>
                <a:gd name="connsiteY0" fmla="*/ 0 h 138000"/>
                <a:gd name="connsiteX1" fmla="*/ 0 w 208829"/>
                <a:gd name="connsiteY1" fmla="*/ 103205 h 138000"/>
                <a:gd name="connsiteX2" fmla="*/ 208830 w 208829"/>
                <a:gd name="connsiteY2" fmla="*/ 138000 h 138000"/>
                <a:gd name="connsiteX3" fmla="*/ 208830 w 208829"/>
                <a:gd name="connsiteY3" fmla="*/ 60987 h 138000"/>
              </a:gdLst>
              <a:ahLst/>
              <a:cxnLst>
                <a:cxn ang="0">
                  <a:pos x="connsiteX0" y="connsiteY0"/>
                </a:cxn>
                <a:cxn ang="0">
                  <a:pos x="connsiteX1" y="connsiteY1"/>
                </a:cxn>
                <a:cxn ang="0">
                  <a:pos x="connsiteX2" y="connsiteY2"/>
                </a:cxn>
                <a:cxn ang="0">
                  <a:pos x="connsiteX3" y="connsiteY3"/>
                </a:cxn>
              </a:cxnLst>
              <a:rect l="l" t="t" r="r" b="b"/>
              <a:pathLst>
                <a:path w="208829" h="138000">
                  <a:moveTo>
                    <a:pt x="0" y="0"/>
                  </a:moveTo>
                  <a:lnTo>
                    <a:pt x="0" y="103205"/>
                  </a:lnTo>
                  <a:lnTo>
                    <a:pt x="208830" y="138000"/>
                  </a:lnTo>
                  <a:lnTo>
                    <a:pt x="208830" y="60987"/>
                  </a:lnTo>
                  <a:close/>
                </a:path>
              </a:pathLst>
            </a:custGeom>
            <a:grpFill/>
            <a:ln w="1442"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87F60470-E703-DF0F-6E09-21082CD0E9E0}"/>
                </a:ext>
              </a:extLst>
            </p:cNvPr>
            <p:cNvSpPr/>
            <p:nvPr/>
          </p:nvSpPr>
          <p:spPr>
            <a:xfrm>
              <a:off x="6667940" y="5476464"/>
              <a:ext cx="253280" cy="181426"/>
            </a:xfrm>
            <a:custGeom>
              <a:avLst/>
              <a:gdLst>
                <a:gd name="connsiteX0" fmla="*/ 253281 w 253280"/>
                <a:gd name="connsiteY0" fmla="*/ 74044 h 181426"/>
                <a:gd name="connsiteX1" fmla="*/ 0 w 253280"/>
                <a:gd name="connsiteY1" fmla="*/ 0 h 181426"/>
                <a:gd name="connsiteX2" fmla="*/ 0 w 253280"/>
                <a:gd name="connsiteY2" fmla="*/ 139214 h 181426"/>
                <a:gd name="connsiteX3" fmla="*/ 253281 w 253280"/>
                <a:gd name="connsiteY3" fmla="*/ 181427 h 181426"/>
              </a:gdLst>
              <a:ahLst/>
              <a:cxnLst>
                <a:cxn ang="0">
                  <a:pos x="connsiteX0" y="connsiteY0"/>
                </a:cxn>
                <a:cxn ang="0">
                  <a:pos x="connsiteX1" y="connsiteY1"/>
                </a:cxn>
                <a:cxn ang="0">
                  <a:pos x="connsiteX2" y="connsiteY2"/>
                </a:cxn>
                <a:cxn ang="0">
                  <a:pos x="connsiteX3" y="connsiteY3"/>
                </a:cxn>
              </a:cxnLst>
              <a:rect l="l" t="t" r="r" b="b"/>
              <a:pathLst>
                <a:path w="253280" h="181426">
                  <a:moveTo>
                    <a:pt x="253281" y="74044"/>
                  </a:moveTo>
                  <a:lnTo>
                    <a:pt x="0" y="0"/>
                  </a:lnTo>
                  <a:lnTo>
                    <a:pt x="0" y="139214"/>
                  </a:lnTo>
                  <a:lnTo>
                    <a:pt x="253281" y="181427"/>
                  </a:lnTo>
                  <a:close/>
                </a:path>
              </a:pathLst>
            </a:custGeom>
            <a:grpFill/>
            <a:ln w="1442"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D55EBC72-7356-F263-8537-29A1DBFBA445}"/>
                </a:ext>
              </a:extLst>
            </p:cNvPr>
            <p:cNvSpPr/>
            <p:nvPr/>
          </p:nvSpPr>
          <p:spPr>
            <a:xfrm>
              <a:off x="6667948" y="5651468"/>
              <a:ext cx="142448" cy="161445"/>
            </a:xfrm>
            <a:custGeom>
              <a:avLst/>
              <a:gdLst>
                <a:gd name="connsiteX0" fmla="*/ 142448 w 142448"/>
                <a:gd name="connsiteY0" fmla="*/ 23714 h 161445"/>
                <a:gd name="connsiteX1" fmla="*/ 0 w 142448"/>
                <a:gd name="connsiteY1" fmla="*/ 0 h 161445"/>
                <a:gd name="connsiteX2" fmla="*/ 0 w 142448"/>
                <a:gd name="connsiteY2" fmla="*/ 161445 h 161445"/>
                <a:gd name="connsiteX3" fmla="*/ 142448 w 142448"/>
                <a:gd name="connsiteY3" fmla="*/ 161445 h 161445"/>
              </a:gdLst>
              <a:ahLst/>
              <a:cxnLst>
                <a:cxn ang="0">
                  <a:pos x="connsiteX0" y="connsiteY0"/>
                </a:cxn>
                <a:cxn ang="0">
                  <a:pos x="connsiteX1" y="connsiteY1"/>
                </a:cxn>
                <a:cxn ang="0">
                  <a:pos x="connsiteX2" y="connsiteY2"/>
                </a:cxn>
                <a:cxn ang="0">
                  <a:pos x="connsiteX3" y="connsiteY3"/>
                </a:cxn>
              </a:cxnLst>
              <a:rect l="l" t="t" r="r" b="b"/>
              <a:pathLst>
                <a:path w="142448" h="161445">
                  <a:moveTo>
                    <a:pt x="142448" y="23714"/>
                  </a:moveTo>
                  <a:lnTo>
                    <a:pt x="0" y="0"/>
                  </a:lnTo>
                  <a:lnTo>
                    <a:pt x="0" y="161445"/>
                  </a:lnTo>
                  <a:lnTo>
                    <a:pt x="142448" y="161445"/>
                  </a:lnTo>
                  <a:close/>
                </a:path>
              </a:pathLst>
            </a:custGeom>
            <a:grpFill/>
            <a:ln w="1442"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07C3E171-66BD-390B-D50F-CA2588DDC72D}"/>
                </a:ext>
              </a:extLst>
            </p:cNvPr>
            <p:cNvSpPr/>
            <p:nvPr/>
          </p:nvSpPr>
          <p:spPr>
            <a:xfrm>
              <a:off x="6446032" y="5470773"/>
              <a:ext cx="186618" cy="719336"/>
            </a:xfrm>
            <a:custGeom>
              <a:avLst/>
              <a:gdLst>
                <a:gd name="connsiteX0" fmla="*/ 0 w 186618"/>
                <a:gd name="connsiteY0" fmla="*/ 0 h 719336"/>
                <a:gd name="connsiteX1" fmla="*/ 186619 w 186618"/>
                <a:gd name="connsiteY1" fmla="*/ 0 h 719336"/>
                <a:gd name="connsiteX2" fmla="*/ 186619 w 186618"/>
                <a:gd name="connsiteY2" fmla="*/ 719337 h 719336"/>
                <a:gd name="connsiteX3" fmla="*/ 0 w 186618"/>
                <a:gd name="connsiteY3" fmla="*/ 719337 h 719336"/>
              </a:gdLst>
              <a:ahLst/>
              <a:cxnLst>
                <a:cxn ang="0">
                  <a:pos x="connsiteX0" y="connsiteY0"/>
                </a:cxn>
                <a:cxn ang="0">
                  <a:pos x="connsiteX1" y="connsiteY1"/>
                </a:cxn>
                <a:cxn ang="0">
                  <a:pos x="connsiteX2" y="connsiteY2"/>
                </a:cxn>
                <a:cxn ang="0">
                  <a:pos x="connsiteX3" y="connsiteY3"/>
                </a:cxn>
              </a:cxnLst>
              <a:rect l="l" t="t" r="r" b="b"/>
              <a:pathLst>
                <a:path w="186618" h="719336">
                  <a:moveTo>
                    <a:pt x="0" y="0"/>
                  </a:moveTo>
                  <a:lnTo>
                    <a:pt x="186619" y="0"/>
                  </a:lnTo>
                  <a:lnTo>
                    <a:pt x="186619" y="719337"/>
                  </a:lnTo>
                  <a:lnTo>
                    <a:pt x="0" y="719337"/>
                  </a:lnTo>
                  <a:close/>
                </a:path>
              </a:pathLst>
            </a:custGeom>
            <a:grpFill/>
            <a:ln w="1442" cap="flat">
              <a:noFill/>
              <a:prstDash val="solid"/>
              <a:miter/>
            </a:ln>
          </p:spPr>
          <p:txBody>
            <a:bodyPr rtlCol="0" anchor="ctr"/>
            <a:lstStyle/>
            <a:p>
              <a:endParaRPr lang="en-US"/>
            </a:p>
          </p:txBody>
        </p:sp>
      </p:grpSp>
    </p:spTree>
    <p:extLst>
      <p:ext uri="{BB962C8B-B14F-4D97-AF65-F5344CB8AC3E}">
        <p14:creationId xmlns:p14="http://schemas.microsoft.com/office/powerpoint/2010/main" val="299878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205">
            <a:extLst>
              <a:ext uri="{FF2B5EF4-FFF2-40B4-BE49-F238E27FC236}">
                <a16:creationId xmlns:a16="http://schemas.microsoft.com/office/drawing/2014/main" id="{AC1A1AFD-F556-ED65-C7AA-E700D54DC6B6}"/>
              </a:ext>
            </a:extLst>
          </p:cNvPr>
          <p:cNvSpPr txBox="1">
            <a:spLocks noChangeArrowheads="1"/>
          </p:cNvSpPr>
          <p:nvPr/>
        </p:nvSpPr>
        <p:spPr bwMode="auto">
          <a:xfrm>
            <a:off x="939194" y="1465428"/>
            <a:ext cx="2194560" cy="246221"/>
          </a:xfrm>
          <a:prstGeom prst="rect">
            <a:avLst/>
          </a:prstGeom>
          <a:noFill/>
          <a:ln w="12700" algn="ctr">
            <a:noFill/>
            <a:miter lim="800000"/>
            <a:headEnd/>
            <a:tailEnd/>
          </a:ln>
        </p:spPr>
        <p:txBody>
          <a:bodyP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CA" sz="1000" b="1" i="0" u="none" strike="noStrike" kern="1200" cap="none" spc="0" normalizeH="0" baseline="0" noProof="0">
              <a:ln>
                <a:noFill/>
              </a:ln>
              <a:solidFill>
                <a:prstClr val="black"/>
              </a:solidFill>
              <a:effectLst/>
              <a:uLnTx/>
              <a:uFillTx/>
              <a:latin typeface="Ubuntu"/>
              <a:ea typeface="ＭＳ Ｐゴシック" pitchFamily="34" charset="-128"/>
              <a:cs typeface="Arial" charset="0"/>
            </a:endParaRPr>
          </a:p>
        </p:txBody>
      </p:sp>
      <p:sp>
        <p:nvSpPr>
          <p:cNvPr id="4" name="AutoShape 220">
            <a:extLst>
              <a:ext uri="{FF2B5EF4-FFF2-40B4-BE49-F238E27FC236}">
                <a16:creationId xmlns:a16="http://schemas.microsoft.com/office/drawing/2014/main" id="{9B8DC436-2125-3671-13FE-828B01B13B49}"/>
              </a:ext>
            </a:extLst>
          </p:cNvPr>
          <p:cNvSpPr>
            <a:spLocks noChangeArrowheads="1"/>
          </p:cNvSpPr>
          <p:nvPr/>
        </p:nvSpPr>
        <p:spPr bwMode="auto">
          <a:xfrm>
            <a:off x="9462017" y="825393"/>
            <a:ext cx="2560320" cy="692727"/>
          </a:xfrm>
          <a:prstGeom prst="chevron">
            <a:avLst>
              <a:gd name="adj" fmla="val 56818"/>
            </a:avLst>
          </a:prstGeom>
          <a:solidFill>
            <a:srgbClr val="000000"/>
          </a:solidFill>
          <a:ln w="3175">
            <a:noFill/>
            <a:miter lim="800000"/>
            <a:headEnd/>
            <a:tailEnd/>
          </a:ln>
          <a:effectLst/>
        </p:spPr>
        <p:txBody>
          <a:bodyPr wrap="square" lIns="0" r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Ubuntu"/>
                <a:ea typeface="+mn-ea"/>
                <a:cs typeface="+mn-cs"/>
              </a:rPr>
              <a:t>Handover and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Ubuntu"/>
                <a:ea typeface="+mn-ea"/>
                <a:cs typeface="+mn-cs"/>
              </a:rPr>
              <a:t>Continuous Improvement</a:t>
            </a:r>
          </a:p>
        </p:txBody>
      </p:sp>
      <p:sp>
        <p:nvSpPr>
          <p:cNvPr id="5" name="AutoShape 220">
            <a:extLst>
              <a:ext uri="{FF2B5EF4-FFF2-40B4-BE49-F238E27FC236}">
                <a16:creationId xmlns:a16="http://schemas.microsoft.com/office/drawing/2014/main" id="{25ED9804-0DA3-8E1C-6C57-DCA468B70F19}"/>
              </a:ext>
            </a:extLst>
          </p:cNvPr>
          <p:cNvSpPr>
            <a:spLocks noChangeArrowheads="1"/>
          </p:cNvSpPr>
          <p:nvPr/>
        </p:nvSpPr>
        <p:spPr bwMode="auto">
          <a:xfrm>
            <a:off x="7093715" y="825393"/>
            <a:ext cx="2631650" cy="692727"/>
          </a:xfrm>
          <a:prstGeom prst="chevron">
            <a:avLst>
              <a:gd name="adj" fmla="val 56818"/>
            </a:avLst>
          </a:prstGeom>
          <a:solidFill>
            <a:srgbClr val="000000"/>
          </a:solidFill>
          <a:ln w="3175">
            <a:noFill/>
            <a:miter lim="800000"/>
            <a:headEnd/>
            <a:tailEnd/>
          </a:ln>
          <a:effectLst/>
        </p:spPr>
        <p:txBody>
          <a:bodyPr wrap="square" lIns="0" r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a:ea typeface="+mn-ea"/>
                <a:cs typeface="+mn-cs"/>
              </a:rPr>
              <a:t>Execution </a:t>
            </a:r>
          </a:p>
        </p:txBody>
      </p:sp>
      <p:sp>
        <p:nvSpPr>
          <p:cNvPr id="6" name="AutoShape 220">
            <a:extLst>
              <a:ext uri="{FF2B5EF4-FFF2-40B4-BE49-F238E27FC236}">
                <a16:creationId xmlns:a16="http://schemas.microsoft.com/office/drawing/2014/main" id="{93A6927F-7F83-D230-D775-80C2C82233DA}"/>
              </a:ext>
            </a:extLst>
          </p:cNvPr>
          <p:cNvSpPr>
            <a:spLocks noChangeArrowheads="1"/>
          </p:cNvSpPr>
          <p:nvPr/>
        </p:nvSpPr>
        <p:spPr bwMode="auto">
          <a:xfrm>
            <a:off x="4868074" y="825393"/>
            <a:ext cx="2465414" cy="692727"/>
          </a:xfrm>
          <a:prstGeom prst="chevron">
            <a:avLst>
              <a:gd name="adj" fmla="val 56818"/>
            </a:avLst>
          </a:prstGeom>
          <a:solidFill>
            <a:srgbClr val="000000"/>
          </a:solidFill>
          <a:ln w="3175">
            <a:noFill/>
            <a:miter lim="800000"/>
            <a:headEnd/>
            <a:tailEnd/>
          </a:ln>
          <a:effectLst/>
        </p:spPr>
        <p:txBody>
          <a:bodyPr wrap="square" lIns="0" r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Ubuntu"/>
                <a:ea typeface="+mn-ea"/>
                <a:cs typeface="+mn-cs"/>
              </a:rPr>
              <a:t>Design</a:t>
            </a:r>
          </a:p>
        </p:txBody>
      </p:sp>
      <p:sp>
        <p:nvSpPr>
          <p:cNvPr id="7" name="AutoShape 220">
            <a:extLst>
              <a:ext uri="{FF2B5EF4-FFF2-40B4-BE49-F238E27FC236}">
                <a16:creationId xmlns:a16="http://schemas.microsoft.com/office/drawing/2014/main" id="{A95DF906-2EDB-6116-54A8-BD97C8DF2AFC}"/>
              </a:ext>
            </a:extLst>
          </p:cNvPr>
          <p:cNvSpPr>
            <a:spLocks noChangeArrowheads="1"/>
          </p:cNvSpPr>
          <p:nvPr/>
        </p:nvSpPr>
        <p:spPr bwMode="auto">
          <a:xfrm>
            <a:off x="274132" y="825393"/>
            <a:ext cx="2560320" cy="692727"/>
          </a:xfrm>
          <a:prstGeom prst="chevron">
            <a:avLst>
              <a:gd name="adj" fmla="val 56818"/>
            </a:avLst>
          </a:prstGeom>
          <a:solidFill>
            <a:srgbClr val="000000"/>
          </a:solidFill>
          <a:ln w="3175">
            <a:noFill/>
            <a:miter lim="800000"/>
            <a:headEnd/>
            <a:tailEnd/>
          </a:ln>
          <a:effectLst/>
        </p:spPr>
        <p:txBody>
          <a:bodyPr wrap="square" lIns="0" r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Ubuntu"/>
                <a:ea typeface="+mn-ea"/>
                <a:cs typeface="+mn-cs"/>
              </a:rPr>
              <a:t>Environment Setup and Access</a:t>
            </a:r>
          </a:p>
        </p:txBody>
      </p:sp>
      <p:sp>
        <p:nvSpPr>
          <p:cNvPr id="8" name="AutoShape 220">
            <a:extLst>
              <a:ext uri="{FF2B5EF4-FFF2-40B4-BE49-F238E27FC236}">
                <a16:creationId xmlns:a16="http://schemas.microsoft.com/office/drawing/2014/main" id="{E57FB08C-0A01-F03F-750A-595CD936820C}"/>
              </a:ext>
            </a:extLst>
          </p:cNvPr>
          <p:cNvSpPr>
            <a:spLocks noChangeArrowheads="1"/>
          </p:cNvSpPr>
          <p:nvPr/>
        </p:nvSpPr>
        <p:spPr bwMode="auto">
          <a:xfrm>
            <a:off x="2571103" y="825393"/>
            <a:ext cx="2560320" cy="692727"/>
          </a:xfrm>
          <a:prstGeom prst="chevron">
            <a:avLst>
              <a:gd name="adj" fmla="val 56818"/>
            </a:avLst>
          </a:prstGeom>
          <a:solidFill>
            <a:srgbClr val="000000"/>
          </a:solidFill>
          <a:ln w="3175">
            <a:noFill/>
            <a:miter lim="800000"/>
            <a:headEnd/>
            <a:tailEnd/>
          </a:ln>
          <a:effectLst/>
        </p:spPr>
        <p:txBody>
          <a:bodyPr wrap="square" lIns="0" r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Ubuntu"/>
                <a:ea typeface="+mn-ea"/>
                <a:cs typeface="+mn-cs"/>
              </a:rPr>
              <a:t>Planning</a:t>
            </a:r>
          </a:p>
        </p:txBody>
      </p:sp>
      <p:sp>
        <p:nvSpPr>
          <p:cNvPr id="10" name="Text Box 194">
            <a:extLst>
              <a:ext uri="{FF2B5EF4-FFF2-40B4-BE49-F238E27FC236}">
                <a16:creationId xmlns:a16="http://schemas.microsoft.com/office/drawing/2014/main" id="{879DB478-13B6-B5A2-E575-153D09E8930D}"/>
              </a:ext>
            </a:extLst>
          </p:cNvPr>
          <p:cNvSpPr txBox="1">
            <a:spLocks noChangeArrowheads="1"/>
          </p:cNvSpPr>
          <p:nvPr/>
        </p:nvSpPr>
        <p:spPr bwMode="auto">
          <a:xfrm>
            <a:off x="274132" y="1548814"/>
            <a:ext cx="2194560" cy="2117930"/>
          </a:xfrm>
          <a:prstGeom prst="rect">
            <a:avLst/>
          </a:prstGeom>
          <a:solidFill>
            <a:srgbClr val="ECECEC"/>
          </a:solidFill>
          <a:ln w="9525" algn="ctr">
            <a:noFill/>
            <a:miter lim="800000"/>
            <a:headEnd/>
            <a:tailEnd/>
          </a:ln>
        </p:spPr>
        <p:txBody>
          <a:bodyPr/>
          <a:lstStyle>
            <a:defPPr>
              <a:defRPr lang="en-US"/>
            </a:defPPr>
            <a:lvl1pPr marL="114300" indent="-114300" fontAlgn="base">
              <a:spcBef>
                <a:spcPct val="30000"/>
              </a:spcBef>
              <a:spcAft>
                <a:spcPct val="0"/>
              </a:spcAft>
              <a:buClr>
                <a:srgbClr val="1EA3D2"/>
              </a:buClr>
              <a:buFont typeface="Wingdings" pitchFamily="2" charset="2"/>
              <a:buChar char="§"/>
              <a:defRPr sz="1000">
                <a:solidFill>
                  <a:prstClr val="black"/>
                </a:solidFill>
                <a:latin typeface="Candara" panose="020E0502030303020204" pitchFamily="34" charset="0"/>
                <a:ea typeface="ＭＳ Ｐゴシック" pitchFamily="34" charset="-128"/>
                <a:cs typeface="Times New Roman" pitchFamily="18" charset="0"/>
              </a:defRPr>
            </a:lvl1p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Setup environment for SIT/</a:t>
            </a:r>
            <a:r>
              <a:rPr kumimoji="0" lang="en-US" sz="1200" b="0" i="0" u="none" strike="noStrike" kern="0" cap="none" spc="0" normalizeH="0" baseline="0" noProof="0" dirty="0" err="1">
                <a:ln>
                  <a:noFill/>
                </a:ln>
                <a:solidFill>
                  <a:prstClr val="black"/>
                </a:solidFill>
                <a:effectLst/>
                <a:uLnTx/>
                <a:uFillTx/>
                <a:latin typeface="Ubuntu"/>
                <a:ea typeface="ＭＳ Ｐゴシック" pitchFamily="34" charset="-128"/>
                <a:cs typeface="Arial" panose="020B0604020202020204" pitchFamily="34" charset="0"/>
              </a:rPr>
              <a:t>UAT</a:t>
            </a:r>
            <a:endPar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a:p>
            <a:pPr marL="173038" indent="-173038">
              <a:spcBef>
                <a:spcPts val="200"/>
              </a:spcBef>
              <a:spcAft>
                <a:spcPts val="0"/>
              </a:spcAft>
              <a:buClr>
                <a:srgbClr val="12ABDB"/>
              </a:buClr>
              <a:defRPr/>
            </a:pPr>
            <a:r>
              <a:rPr lang="en-IN" sz="1200" kern="0" dirty="0" err="1">
                <a:latin typeface="Ubuntu"/>
                <a:cs typeface="Arial" panose="020B0604020202020204" pitchFamily="34" charset="0"/>
              </a:rPr>
              <a:t>HVR</a:t>
            </a:r>
            <a:r>
              <a:rPr lang="en-IN" sz="1200" kern="0" dirty="0">
                <a:latin typeface="Ubuntu"/>
                <a:cs typeface="Arial" panose="020B0604020202020204" pitchFamily="34" charset="0"/>
              </a:rPr>
              <a:t> &amp; </a:t>
            </a:r>
            <a:r>
              <a:rPr lang="en-IN" sz="1200" kern="0" dirty="0" err="1">
                <a:latin typeface="Ubuntu"/>
                <a:cs typeface="Arial" panose="020B0604020202020204" pitchFamily="34" charset="0"/>
              </a:rPr>
              <a:t>FDL</a:t>
            </a:r>
            <a:r>
              <a:rPr lang="en-US" sz="1200" kern="0" dirty="0">
                <a:latin typeface="Ubuntu"/>
                <a:cs typeface="Arial" panose="020B0604020202020204" pitchFamily="34" charset="0"/>
              </a:rPr>
              <a:t> refresh for SIT/</a:t>
            </a:r>
            <a:r>
              <a:rPr lang="en-US" sz="1200" kern="0" dirty="0" err="1">
                <a:latin typeface="Ubuntu"/>
                <a:cs typeface="Arial" panose="020B0604020202020204" pitchFamily="34" charset="0"/>
              </a:rPr>
              <a:t>UAT</a:t>
            </a:r>
            <a:endParaRPr lang="en-US" sz="1200" kern="0" dirty="0">
              <a:latin typeface="Ubuntu"/>
              <a:cs typeface="Arial" panose="020B0604020202020204" pitchFamily="34" charset="0"/>
            </a:endParaRPr>
          </a:p>
          <a:p>
            <a:pPr marL="173038" indent="-173038">
              <a:spcBef>
                <a:spcPts val="200"/>
              </a:spcBef>
              <a:spcAft>
                <a:spcPts val="0"/>
              </a:spcAft>
              <a:buClr>
                <a:srgbClr val="12ABDB"/>
              </a:buClr>
              <a:defRPr/>
            </a:pPr>
            <a:r>
              <a:rPr lang="en-US" sz="1200" kern="0" dirty="0">
                <a:latin typeface="Ubuntu"/>
                <a:cs typeface="Arial" panose="020B0604020202020204" pitchFamily="34" charset="0"/>
              </a:rPr>
              <a:t>Pillar application readiness.</a:t>
            </a:r>
          </a:p>
          <a:p>
            <a:pPr marL="173038" indent="-173038">
              <a:spcBef>
                <a:spcPts val="200"/>
              </a:spcBef>
              <a:spcAft>
                <a:spcPts val="0"/>
              </a:spcAft>
              <a:buClr>
                <a:srgbClr val="12ABDB"/>
              </a:buClr>
              <a:defRPr/>
            </a:pPr>
            <a:r>
              <a:rPr lang="en-US" sz="1200" kern="0" dirty="0">
                <a:latin typeface="Ubuntu"/>
                <a:cs typeface="Arial" panose="020B0604020202020204" pitchFamily="34" charset="0"/>
              </a:rPr>
              <a:t>Data Conversion status</a:t>
            </a:r>
          </a:p>
          <a:p>
            <a:pPr marL="173038" indent="-173038">
              <a:spcBef>
                <a:spcPts val="200"/>
              </a:spcBef>
              <a:spcAft>
                <a:spcPts val="0"/>
              </a:spcAft>
              <a:buClr>
                <a:srgbClr val="12ABDB"/>
              </a:buClr>
              <a:defRPr/>
            </a:pPr>
            <a:r>
              <a:rPr lang="en-US" sz="1200" kern="0" dirty="0">
                <a:latin typeface="Ubuntu"/>
                <a:cs typeface="Arial" panose="020B0604020202020204" pitchFamily="34" charset="0"/>
              </a:rPr>
              <a:t>Data load into required applications(Alpha/EV)</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endPar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Times New Roman" pitchFamily="18" charset="0"/>
            </a:endParaRPr>
          </a:p>
        </p:txBody>
      </p:sp>
      <p:sp>
        <p:nvSpPr>
          <p:cNvPr id="11" name="Text Box 195">
            <a:extLst>
              <a:ext uri="{FF2B5EF4-FFF2-40B4-BE49-F238E27FC236}">
                <a16:creationId xmlns:a16="http://schemas.microsoft.com/office/drawing/2014/main" id="{26D108BB-0FBD-E31B-B257-8963FD142447}"/>
              </a:ext>
            </a:extLst>
          </p:cNvPr>
          <p:cNvSpPr txBox="1">
            <a:spLocks noChangeArrowheads="1"/>
          </p:cNvSpPr>
          <p:nvPr/>
        </p:nvSpPr>
        <p:spPr bwMode="auto">
          <a:xfrm>
            <a:off x="2571103" y="1548814"/>
            <a:ext cx="2194560" cy="2117930"/>
          </a:xfrm>
          <a:prstGeom prst="rect">
            <a:avLst/>
          </a:prstGeom>
          <a:solidFill>
            <a:srgbClr val="ECECEC"/>
          </a:solidFill>
          <a:ln w="9525" algn="ctr">
            <a:noFill/>
            <a:miter lim="800000"/>
            <a:headEnd/>
            <a:tailEnd/>
          </a:ln>
        </p:spPr>
        <p:txBody>
          <a:bodyPr/>
          <a:lstStyle>
            <a:defPPr>
              <a:defRPr lang="en-US"/>
            </a:defPPr>
            <a:lvl1pPr marL="114300" indent="-114300" fontAlgn="base">
              <a:spcBef>
                <a:spcPct val="30000"/>
              </a:spcBef>
              <a:spcAft>
                <a:spcPct val="0"/>
              </a:spcAft>
              <a:buClr>
                <a:srgbClr val="1EA3D2"/>
              </a:buClr>
              <a:buFont typeface="Wingdings" pitchFamily="2" charset="2"/>
              <a:buChar char="§"/>
              <a:defRPr sz="1000">
                <a:solidFill>
                  <a:prstClr val="black"/>
                </a:solidFill>
                <a:latin typeface="Candara" panose="020E0502030303020204" pitchFamily="34" charset="0"/>
                <a:ea typeface="ＭＳ Ｐゴシック" pitchFamily="34" charset="-128"/>
                <a:cs typeface="Times New Roman" pitchFamily="18" charset="0"/>
              </a:defRPr>
            </a:lvl1p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lang="en-US" sz="1200" kern="0" dirty="0">
                <a:latin typeface="Ubuntu"/>
                <a:cs typeface="Arial" panose="020B0604020202020204" pitchFamily="34" charset="0"/>
              </a:rPr>
              <a:t>Scope identification based on business needs &amp; Countries </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lang="en-US" sz="1200" kern="0" dirty="0">
                <a:latin typeface="Ubuntu"/>
                <a:cs typeface="Arial" panose="020B0604020202020204" pitchFamily="34" charset="0"/>
              </a:rPr>
              <a:t>Prepare Day to day execution plan </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Create Automation Strategy and Plan</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lang="en-US" sz="1200" kern="0" dirty="0">
                <a:latin typeface="Ubuntu"/>
                <a:cs typeface="Arial" panose="020B0604020202020204" pitchFamily="34" charset="0"/>
              </a:rPr>
              <a:t>Prepare Master Data and derive test data sets </a:t>
            </a: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	</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endPar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endPar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endPar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p:txBody>
      </p:sp>
      <p:sp>
        <p:nvSpPr>
          <p:cNvPr id="12" name="Text Box 196">
            <a:extLst>
              <a:ext uri="{FF2B5EF4-FFF2-40B4-BE49-F238E27FC236}">
                <a16:creationId xmlns:a16="http://schemas.microsoft.com/office/drawing/2014/main" id="{0A5D624D-4FC8-6F83-B783-E53C99DCA963}"/>
              </a:ext>
            </a:extLst>
          </p:cNvPr>
          <p:cNvSpPr txBox="1">
            <a:spLocks noChangeArrowheads="1"/>
          </p:cNvSpPr>
          <p:nvPr/>
        </p:nvSpPr>
        <p:spPr bwMode="auto">
          <a:xfrm>
            <a:off x="4868074" y="1548814"/>
            <a:ext cx="2194560" cy="2117930"/>
          </a:xfrm>
          <a:prstGeom prst="rect">
            <a:avLst/>
          </a:prstGeom>
          <a:solidFill>
            <a:srgbClr val="ECECEC"/>
          </a:solidFill>
          <a:ln w="9525" algn="ctr">
            <a:noFill/>
            <a:miter lim="800000"/>
            <a:headEnd/>
            <a:tailEnd/>
          </a:ln>
        </p:spPr>
        <p:txBody>
          <a:bodyPr/>
          <a:lstStyle>
            <a:defPPr>
              <a:defRPr lang="en-US"/>
            </a:defPPr>
            <a:lvl1pPr marL="114300" indent="-114300" fontAlgn="base">
              <a:spcBef>
                <a:spcPct val="30000"/>
              </a:spcBef>
              <a:spcAft>
                <a:spcPct val="0"/>
              </a:spcAft>
              <a:buClr>
                <a:srgbClr val="1EA3D2"/>
              </a:buClr>
              <a:buFont typeface="Wingdings" pitchFamily="2" charset="2"/>
              <a:buChar char="§"/>
              <a:defRPr sz="1000">
                <a:solidFill>
                  <a:prstClr val="black"/>
                </a:solidFill>
                <a:latin typeface="Candara" panose="020E0502030303020204" pitchFamily="34" charset="0"/>
                <a:ea typeface="ＭＳ Ｐゴシック" pitchFamily="34" charset="-128"/>
                <a:cs typeface="Times New Roman" pitchFamily="18" charset="0"/>
              </a:defRPr>
            </a:lvl1p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Customize the Automation Framework and Libraries as required</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Automate the identified test cases using UFT, </a:t>
            </a:r>
            <a:r>
              <a:rPr kumimoji="0" lang="en-US" sz="1200" b="0" i="0" u="none" strike="noStrike" kern="0" cap="none" spc="0" normalizeH="0" baseline="0" noProof="0" dirty="0" err="1">
                <a:ln>
                  <a:noFill/>
                </a:ln>
                <a:solidFill>
                  <a:prstClr val="black"/>
                </a:solidFill>
                <a:effectLst/>
                <a:uLnTx/>
                <a:uFillTx/>
                <a:latin typeface="Ubuntu"/>
                <a:ea typeface="ＭＳ Ｐゴシック" pitchFamily="34" charset="-128"/>
                <a:cs typeface="Arial" panose="020B0604020202020204" pitchFamily="34" charset="0"/>
              </a:rPr>
              <a:t>WorkSoft</a:t>
            </a: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Perform Dry run</a:t>
            </a:r>
          </a:p>
        </p:txBody>
      </p:sp>
      <p:sp>
        <p:nvSpPr>
          <p:cNvPr id="13" name="Text Box 197">
            <a:extLst>
              <a:ext uri="{FF2B5EF4-FFF2-40B4-BE49-F238E27FC236}">
                <a16:creationId xmlns:a16="http://schemas.microsoft.com/office/drawing/2014/main" id="{936BE102-CA06-3A72-72B2-FACDDF0E3182}"/>
              </a:ext>
            </a:extLst>
          </p:cNvPr>
          <p:cNvSpPr txBox="1">
            <a:spLocks noChangeArrowheads="1"/>
          </p:cNvSpPr>
          <p:nvPr/>
        </p:nvSpPr>
        <p:spPr bwMode="auto">
          <a:xfrm>
            <a:off x="7165045" y="1548814"/>
            <a:ext cx="2194560" cy="2117930"/>
          </a:xfrm>
          <a:prstGeom prst="rect">
            <a:avLst/>
          </a:prstGeom>
          <a:solidFill>
            <a:srgbClr val="ECECEC"/>
          </a:solidFill>
          <a:ln w="9525" algn="ctr">
            <a:noFill/>
            <a:miter lim="800000"/>
            <a:headEnd/>
            <a:tailEnd/>
          </a:ln>
        </p:spPr>
        <p:txBody>
          <a:bodyPr/>
          <a:lstStyle/>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r>
              <a:rPr lang="en-US" sz="1200" kern="0" dirty="0">
                <a:latin typeface="Ubuntu"/>
                <a:cs typeface="Arial" panose="020B0604020202020204" pitchFamily="34" charset="0"/>
              </a:rPr>
              <a:t>Kickoff test execution based on project timelines and priorities </a:t>
            </a:r>
          </a:p>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r>
              <a:rPr lang="en-US" sz="1200" kern="0" dirty="0">
                <a:latin typeface="Ubuntu"/>
                <a:cs typeface="Arial" panose="020B0604020202020204" pitchFamily="34" charset="0"/>
              </a:rPr>
              <a:t>Execute automated test suites across  different processes/modules, countries and Integrated applications.</a:t>
            </a:r>
          </a:p>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endPar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a:p>
            <a:pPr marL="173038" indent="-173038" fontAlgn="base">
              <a:spcBef>
                <a:spcPts val="200"/>
              </a:spcBef>
              <a:buClr>
                <a:srgbClr val="12ABDB"/>
              </a:buClr>
              <a:buFont typeface="Wingdings" panose="05000000000000000000" pitchFamily="2" charset="2"/>
              <a:buChar char="§"/>
              <a:defRPr/>
            </a:pPr>
            <a:endPar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endPar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p:txBody>
      </p:sp>
      <p:sp>
        <p:nvSpPr>
          <p:cNvPr id="15" name="Text Box 197">
            <a:extLst>
              <a:ext uri="{FF2B5EF4-FFF2-40B4-BE49-F238E27FC236}">
                <a16:creationId xmlns:a16="http://schemas.microsoft.com/office/drawing/2014/main" id="{F1E1A4CA-E0A9-2DC2-F969-F46CDAC9CBE6}"/>
              </a:ext>
            </a:extLst>
          </p:cNvPr>
          <p:cNvSpPr txBox="1">
            <a:spLocks noChangeArrowheads="1"/>
          </p:cNvSpPr>
          <p:nvPr/>
        </p:nvSpPr>
        <p:spPr bwMode="auto">
          <a:xfrm>
            <a:off x="9452621" y="1548814"/>
            <a:ext cx="2203956" cy="2117930"/>
          </a:xfrm>
          <a:prstGeom prst="rect">
            <a:avLst/>
          </a:prstGeom>
          <a:solidFill>
            <a:srgbClr val="ECECEC"/>
          </a:solidFill>
          <a:ln w="9525" algn="ctr">
            <a:noFill/>
            <a:miter lim="800000"/>
            <a:headEnd/>
            <a:tailEnd/>
          </a:ln>
        </p:spPr>
        <p:txBody>
          <a:bodyPr/>
          <a:lstStyle/>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r>
              <a:rPr lang="en-US" sz="1200" kern="0" dirty="0">
                <a:latin typeface="Ubuntu"/>
                <a:cs typeface="Arial" panose="020B0604020202020204" pitchFamily="34" charset="0"/>
              </a:rPr>
              <a:t>Provide detailed reports and metrics to stakeholders, including defect trends, test coverage, and automation effectiveness</a:t>
            </a:r>
            <a:endPar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Create Closure Report and Recommendations</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Sign off from the client</a:t>
            </a:r>
          </a:p>
        </p:txBody>
      </p:sp>
      <p:sp>
        <p:nvSpPr>
          <p:cNvPr id="16" name="AutoShape 6">
            <a:extLst>
              <a:ext uri="{FF2B5EF4-FFF2-40B4-BE49-F238E27FC236}">
                <a16:creationId xmlns:a16="http://schemas.microsoft.com/office/drawing/2014/main" id="{64229659-51BA-C077-5911-C68B2EEDA44A}"/>
              </a:ext>
            </a:extLst>
          </p:cNvPr>
          <p:cNvSpPr>
            <a:spLocks noChangeArrowheads="1"/>
          </p:cNvSpPr>
          <p:nvPr/>
        </p:nvSpPr>
        <p:spPr bwMode="auto">
          <a:xfrm>
            <a:off x="7062415" y="4296956"/>
            <a:ext cx="204382" cy="265271"/>
          </a:xfrm>
          <a:prstGeom prst="flowChartAlternateProcess">
            <a:avLst/>
          </a:prstGeom>
          <a:noFill/>
          <a:ln w="9525" algn="ctr">
            <a:noFill/>
            <a:miter lim="800000"/>
            <a:headEnd/>
            <a:tailEnd/>
          </a:ln>
        </p:spPr>
        <p:txBody>
          <a:bodyPr wrap="none"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1000" b="1" i="0" u="none" strike="noStrike" kern="1200" cap="none" spc="0" normalizeH="0" baseline="0" noProof="0">
              <a:ln>
                <a:noFill/>
              </a:ln>
              <a:solidFill>
                <a:prstClr val="black"/>
              </a:solidFill>
              <a:effectLst/>
              <a:uLnTx/>
              <a:uFillTx/>
              <a:latin typeface="Ubuntu"/>
              <a:ea typeface="ＭＳ Ｐゴシック" pitchFamily="34" charset="-128"/>
              <a:cs typeface="Arial" charset="0"/>
            </a:endParaRPr>
          </a:p>
        </p:txBody>
      </p:sp>
      <p:sp>
        <p:nvSpPr>
          <p:cNvPr id="18" name="Freeform 284">
            <a:extLst>
              <a:ext uri="{FF2B5EF4-FFF2-40B4-BE49-F238E27FC236}">
                <a16:creationId xmlns:a16="http://schemas.microsoft.com/office/drawing/2014/main" id="{8E4DF558-2AF0-2276-85C4-DD0C4FA4454F}"/>
              </a:ext>
            </a:extLst>
          </p:cNvPr>
          <p:cNvSpPr>
            <a:spLocks/>
          </p:cNvSpPr>
          <p:nvPr/>
        </p:nvSpPr>
        <p:spPr bwMode="auto">
          <a:xfrm>
            <a:off x="274132" y="3710597"/>
            <a:ext cx="2194560" cy="304132"/>
          </a:xfrm>
          <a:custGeom>
            <a:avLst/>
            <a:gdLst>
              <a:gd name="T0" fmla="*/ 0 w 12800"/>
              <a:gd name="T1" fmla="*/ 0 h 1600"/>
              <a:gd name="T2" fmla="*/ 0 w 12800"/>
              <a:gd name="T3" fmla="*/ 0 h 1600"/>
              <a:gd name="T4" fmla="*/ 0 w 12800"/>
              <a:gd name="T5" fmla="*/ 0 h 1600"/>
              <a:gd name="T6" fmla="*/ 0 w 12800"/>
              <a:gd name="T7" fmla="*/ 0 h 1600"/>
              <a:gd name="T8" fmla="*/ 0 w 12800"/>
              <a:gd name="T9" fmla="*/ 0 h 1600"/>
              <a:gd name="T10" fmla="*/ 0 w 12800"/>
              <a:gd name="T11" fmla="*/ 0 h 1600"/>
              <a:gd name="T12" fmla="*/ 0 w 12800"/>
              <a:gd name="T13" fmla="*/ 0 h 1600"/>
              <a:gd name="T14" fmla="*/ 0 60000 65536"/>
              <a:gd name="T15" fmla="*/ 0 60000 65536"/>
              <a:gd name="T16" fmla="*/ 0 60000 65536"/>
              <a:gd name="T17" fmla="*/ 0 60000 65536"/>
              <a:gd name="T18" fmla="*/ 0 60000 65536"/>
              <a:gd name="T19" fmla="*/ 0 60000 65536"/>
              <a:gd name="T20" fmla="*/ 0 60000 65536"/>
              <a:gd name="T21" fmla="*/ 0 w 12800"/>
              <a:gd name="T22" fmla="*/ 0 h 1600"/>
              <a:gd name="T23" fmla="*/ 12800 w 12800"/>
              <a:gd name="T24" fmla="*/ 1600 h 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800" h="1600">
                <a:moveTo>
                  <a:pt x="12800" y="0"/>
                </a:moveTo>
                <a:cubicBezTo>
                  <a:pt x="12800" y="442"/>
                  <a:pt x="12323" y="800"/>
                  <a:pt x="11734" y="800"/>
                </a:cubicBezTo>
                <a:lnTo>
                  <a:pt x="7467" y="800"/>
                </a:lnTo>
                <a:cubicBezTo>
                  <a:pt x="6878" y="800"/>
                  <a:pt x="6400" y="1159"/>
                  <a:pt x="6400" y="1600"/>
                </a:cubicBezTo>
                <a:cubicBezTo>
                  <a:pt x="6400" y="1159"/>
                  <a:pt x="5923" y="800"/>
                  <a:pt x="5334" y="800"/>
                </a:cubicBezTo>
                <a:lnTo>
                  <a:pt x="1067" y="800"/>
                </a:lnTo>
                <a:cubicBezTo>
                  <a:pt x="478" y="800"/>
                  <a:pt x="0" y="442"/>
                  <a:pt x="0" y="0"/>
                </a:cubicBezTo>
              </a:path>
            </a:pathLst>
          </a:custGeom>
          <a:noFill/>
          <a:ln w="30163" cap="rnd">
            <a:solidFill>
              <a:srgbClr val="80808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Ubuntu"/>
              <a:ea typeface="ＭＳ Ｐゴシック" pitchFamily="34" charset="-128"/>
              <a:cs typeface="+mn-cs"/>
            </a:endParaRPr>
          </a:p>
        </p:txBody>
      </p:sp>
      <p:sp>
        <p:nvSpPr>
          <p:cNvPr id="19" name="Freeform 284">
            <a:extLst>
              <a:ext uri="{FF2B5EF4-FFF2-40B4-BE49-F238E27FC236}">
                <a16:creationId xmlns:a16="http://schemas.microsoft.com/office/drawing/2014/main" id="{C82F46C5-6520-76A3-1AE9-D79F8859D22C}"/>
              </a:ext>
            </a:extLst>
          </p:cNvPr>
          <p:cNvSpPr>
            <a:spLocks/>
          </p:cNvSpPr>
          <p:nvPr/>
        </p:nvSpPr>
        <p:spPr bwMode="auto">
          <a:xfrm>
            <a:off x="2545106" y="3710597"/>
            <a:ext cx="2194560" cy="304132"/>
          </a:xfrm>
          <a:custGeom>
            <a:avLst/>
            <a:gdLst>
              <a:gd name="T0" fmla="*/ 0 w 12800"/>
              <a:gd name="T1" fmla="*/ 0 h 1600"/>
              <a:gd name="T2" fmla="*/ 0 w 12800"/>
              <a:gd name="T3" fmla="*/ 0 h 1600"/>
              <a:gd name="T4" fmla="*/ 0 w 12800"/>
              <a:gd name="T5" fmla="*/ 0 h 1600"/>
              <a:gd name="T6" fmla="*/ 0 w 12800"/>
              <a:gd name="T7" fmla="*/ 0 h 1600"/>
              <a:gd name="T8" fmla="*/ 0 w 12800"/>
              <a:gd name="T9" fmla="*/ 0 h 1600"/>
              <a:gd name="T10" fmla="*/ 0 w 12800"/>
              <a:gd name="T11" fmla="*/ 0 h 1600"/>
              <a:gd name="T12" fmla="*/ 0 w 12800"/>
              <a:gd name="T13" fmla="*/ 0 h 1600"/>
              <a:gd name="T14" fmla="*/ 0 60000 65536"/>
              <a:gd name="T15" fmla="*/ 0 60000 65536"/>
              <a:gd name="T16" fmla="*/ 0 60000 65536"/>
              <a:gd name="T17" fmla="*/ 0 60000 65536"/>
              <a:gd name="T18" fmla="*/ 0 60000 65536"/>
              <a:gd name="T19" fmla="*/ 0 60000 65536"/>
              <a:gd name="T20" fmla="*/ 0 60000 65536"/>
              <a:gd name="T21" fmla="*/ 0 w 12800"/>
              <a:gd name="T22" fmla="*/ 0 h 1600"/>
              <a:gd name="T23" fmla="*/ 12800 w 12800"/>
              <a:gd name="T24" fmla="*/ 1600 h 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800" h="1600">
                <a:moveTo>
                  <a:pt x="12800" y="0"/>
                </a:moveTo>
                <a:cubicBezTo>
                  <a:pt x="12800" y="442"/>
                  <a:pt x="12323" y="800"/>
                  <a:pt x="11734" y="800"/>
                </a:cubicBezTo>
                <a:lnTo>
                  <a:pt x="7467" y="800"/>
                </a:lnTo>
                <a:cubicBezTo>
                  <a:pt x="6878" y="800"/>
                  <a:pt x="6400" y="1159"/>
                  <a:pt x="6400" y="1600"/>
                </a:cubicBezTo>
                <a:cubicBezTo>
                  <a:pt x="6400" y="1159"/>
                  <a:pt x="5923" y="800"/>
                  <a:pt x="5334" y="800"/>
                </a:cubicBezTo>
                <a:lnTo>
                  <a:pt x="1067" y="800"/>
                </a:lnTo>
                <a:cubicBezTo>
                  <a:pt x="478" y="800"/>
                  <a:pt x="0" y="442"/>
                  <a:pt x="0" y="0"/>
                </a:cubicBezTo>
              </a:path>
            </a:pathLst>
          </a:custGeom>
          <a:noFill/>
          <a:ln w="30163" cap="rnd">
            <a:solidFill>
              <a:srgbClr val="80808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Ubuntu"/>
              <a:ea typeface="ＭＳ Ｐゴシック" pitchFamily="34" charset="-128"/>
              <a:cs typeface="+mn-cs"/>
            </a:endParaRPr>
          </a:p>
        </p:txBody>
      </p:sp>
      <p:sp>
        <p:nvSpPr>
          <p:cNvPr id="20" name="Freeform 284">
            <a:extLst>
              <a:ext uri="{FF2B5EF4-FFF2-40B4-BE49-F238E27FC236}">
                <a16:creationId xmlns:a16="http://schemas.microsoft.com/office/drawing/2014/main" id="{B34A669B-DAF3-5E69-6424-CAFFED6C1B9F}"/>
              </a:ext>
            </a:extLst>
          </p:cNvPr>
          <p:cNvSpPr>
            <a:spLocks/>
          </p:cNvSpPr>
          <p:nvPr/>
        </p:nvSpPr>
        <p:spPr bwMode="auto">
          <a:xfrm>
            <a:off x="4868074" y="3710597"/>
            <a:ext cx="2194560" cy="304132"/>
          </a:xfrm>
          <a:custGeom>
            <a:avLst/>
            <a:gdLst>
              <a:gd name="T0" fmla="*/ 0 w 12800"/>
              <a:gd name="T1" fmla="*/ 0 h 1600"/>
              <a:gd name="T2" fmla="*/ 0 w 12800"/>
              <a:gd name="T3" fmla="*/ 0 h 1600"/>
              <a:gd name="T4" fmla="*/ 0 w 12800"/>
              <a:gd name="T5" fmla="*/ 0 h 1600"/>
              <a:gd name="T6" fmla="*/ 0 w 12800"/>
              <a:gd name="T7" fmla="*/ 0 h 1600"/>
              <a:gd name="T8" fmla="*/ 0 w 12800"/>
              <a:gd name="T9" fmla="*/ 0 h 1600"/>
              <a:gd name="T10" fmla="*/ 0 w 12800"/>
              <a:gd name="T11" fmla="*/ 0 h 1600"/>
              <a:gd name="T12" fmla="*/ 0 w 12800"/>
              <a:gd name="T13" fmla="*/ 0 h 1600"/>
              <a:gd name="T14" fmla="*/ 0 60000 65536"/>
              <a:gd name="T15" fmla="*/ 0 60000 65536"/>
              <a:gd name="T16" fmla="*/ 0 60000 65536"/>
              <a:gd name="T17" fmla="*/ 0 60000 65536"/>
              <a:gd name="T18" fmla="*/ 0 60000 65536"/>
              <a:gd name="T19" fmla="*/ 0 60000 65536"/>
              <a:gd name="T20" fmla="*/ 0 60000 65536"/>
              <a:gd name="T21" fmla="*/ 0 w 12800"/>
              <a:gd name="T22" fmla="*/ 0 h 1600"/>
              <a:gd name="T23" fmla="*/ 12800 w 12800"/>
              <a:gd name="T24" fmla="*/ 1600 h 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800" h="1600">
                <a:moveTo>
                  <a:pt x="12800" y="0"/>
                </a:moveTo>
                <a:cubicBezTo>
                  <a:pt x="12800" y="442"/>
                  <a:pt x="12323" y="800"/>
                  <a:pt x="11734" y="800"/>
                </a:cubicBezTo>
                <a:lnTo>
                  <a:pt x="7467" y="800"/>
                </a:lnTo>
                <a:cubicBezTo>
                  <a:pt x="6878" y="800"/>
                  <a:pt x="6400" y="1159"/>
                  <a:pt x="6400" y="1600"/>
                </a:cubicBezTo>
                <a:cubicBezTo>
                  <a:pt x="6400" y="1159"/>
                  <a:pt x="5923" y="800"/>
                  <a:pt x="5334" y="800"/>
                </a:cubicBezTo>
                <a:lnTo>
                  <a:pt x="1067" y="800"/>
                </a:lnTo>
                <a:cubicBezTo>
                  <a:pt x="478" y="800"/>
                  <a:pt x="0" y="442"/>
                  <a:pt x="0" y="0"/>
                </a:cubicBezTo>
              </a:path>
            </a:pathLst>
          </a:custGeom>
          <a:noFill/>
          <a:ln w="30163" cap="rnd">
            <a:solidFill>
              <a:srgbClr val="80808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Ubuntu"/>
              <a:ea typeface="ＭＳ Ｐゴシック" pitchFamily="34" charset="-128"/>
              <a:cs typeface="+mn-cs"/>
            </a:endParaRPr>
          </a:p>
        </p:txBody>
      </p:sp>
      <p:sp>
        <p:nvSpPr>
          <p:cNvPr id="21" name="Freeform 284">
            <a:extLst>
              <a:ext uri="{FF2B5EF4-FFF2-40B4-BE49-F238E27FC236}">
                <a16:creationId xmlns:a16="http://schemas.microsoft.com/office/drawing/2014/main" id="{FF532A7A-D6D2-1EA4-872C-D8EB12CCEF7A}"/>
              </a:ext>
            </a:extLst>
          </p:cNvPr>
          <p:cNvSpPr>
            <a:spLocks/>
          </p:cNvSpPr>
          <p:nvPr/>
        </p:nvSpPr>
        <p:spPr bwMode="auto">
          <a:xfrm>
            <a:off x="7165045" y="3710597"/>
            <a:ext cx="2194560" cy="304132"/>
          </a:xfrm>
          <a:custGeom>
            <a:avLst/>
            <a:gdLst>
              <a:gd name="T0" fmla="*/ 0 w 12800"/>
              <a:gd name="T1" fmla="*/ 0 h 1600"/>
              <a:gd name="T2" fmla="*/ 0 w 12800"/>
              <a:gd name="T3" fmla="*/ 0 h 1600"/>
              <a:gd name="T4" fmla="*/ 0 w 12800"/>
              <a:gd name="T5" fmla="*/ 0 h 1600"/>
              <a:gd name="T6" fmla="*/ 0 w 12800"/>
              <a:gd name="T7" fmla="*/ 0 h 1600"/>
              <a:gd name="T8" fmla="*/ 0 w 12800"/>
              <a:gd name="T9" fmla="*/ 0 h 1600"/>
              <a:gd name="T10" fmla="*/ 0 w 12800"/>
              <a:gd name="T11" fmla="*/ 0 h 1600"/>
              <a:gd name="T12" fmla="*/ 0 w 12800"/>
              <a:gd name="T13" fmla="*/ 0 h 1600"/>
              <a:gd name="T14" fmla="*/ 0 60000 65536"/>
              <a:gd name="T15" fmla="*/ 0 60000 65536"/>
              <a:gd name="T16" fmla="*/ 0 60000 65536"/>
              <a:gd name="T17" fmla="*/ 0 60000 65536"/>
              <a:gd name="T18" fmla="*/ 0 60000 65536"/>
              <a:gd name="T19" fmla="*/ 0 60000 65536"/>
              <a:gd name="T20" fmla="*/ 0 60000 65536"/>
              <a:gd name="T21" fmla="*/ 0 w 12800"/>
              <a:gd name="T22" fmla="*/ 0 h 1600"/>
              <a:gd name="T23" fmla="*/ 12800 w 12800"/>
              <a:gd name="T24" fmla="*/ 1600 h 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800" h="1600">
                <a:moveTo>
                  <a:pt x="12800" y="0"/>
                </a:moveTo>
                <a:cubicBezTo>
                  <a:pt x="12800" y="442"/>
                  <a:pt x="12323" y="800"/>
                  <a:pt x="11734" y="800"/>
                </a:cubicBezTo>
                <a:lnTo>
                  <a:pt x="7467" y="800"/>
                </a:lnTo>
                <a:cubicBezTo>
                  <a:pt x="6878" y="800"/>
                  <a:pt x="6400" y="1159"/>
                  <a:pt x="6400" y="1600"/>
                </a:cubicBezTo>
                <a:cubicBezTo>
                  <a:pt x="6400" y="1159"/>
                  <a:pt x="5923" y="800"/>
                  <a:pt x="5334" y="800"/>
                </a:cubicBezTo>
                <a:lnTo>
                  <a:pt x="1067" y="800"/>
                </a:lnTo>
                <a:cubicBezTo>
                  <a:pt x="478" y="800"/>
                  <a:pt x="0" y="442"/>
                  <a:pt x="0" y="0"/>
                </a:cubicBezTo>
              </a:path>
            </a:pathLst>
          </a:custGeom>
          <a:noFill/>
          <a:ln w="30163" cap="rnd">
            <a:solidFill>
              <a:srgbClr val="80808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Ubuntu"/>
              <a:ea typeface="ＭＳ Ｐゴシック" pitchFamily="34" charset="-128"/>
              <a:cs typeface="+mn-cs"/>
            </a:endParaRPr>
          </a:p>
        </p:txBody>
      </p:sp>
      <p:sp>
        <p:nvSpPr>
          <p:cNvPr id="22" name="Freeform 212">
            <a:extLst>
              <a:ext uri="{FF2B5EF4-FFF2-40B4-BE49-F238E27FC236}">
                <a16:creationId xmlns:a16="http://schemas.microsoft.com/office/drawing/2014/main" id="{2B947363-1BC5-57E2-21CF-40C61490232F}"/>
              </a:ext>
            </a:extLst>
          </p:cNvPr>
          <p:cNvSpPr>
            <a:spLocks/>
          </p:cNvSpPr>
          <p:nvPr/>
        </p:nvSpPr>
        <p:spPr bwMode="auto">
          <a:xfrm>
            <a:off x="9462017" y="3710597"/>
            <a:ext cx="2194560" cy="304132"/>
          </a:xfrm>
          <a:custGeom>
            <a:avLst/>
            <a:gdLst>
              <a:gd name="T0" fmla="*/ 0 w 12800"/>
              <a:gd name="T1" fmla="*/ 0 h 1600"/>
              <a:gd name="T2" fmla="*/ 0 w 12800"/>
              <a:gd name="T3" fmla="*/ 0 h 1600"/>
              <a:gd name="T4" fmla="*/ 0 w 12800"/>
              <a:gd name="T5" fmla="*/ 0 h 1600"/>
              <a:gd name="T6" fmla="*/ 0 w 12800"/>
              <a:gd name="T7" fmla="*/ 0 h 1600"/>
              <a:gd name="T8" fmla="*/ 0 w 12800"/>
              <a:gd name="T9" fmla="*/ 0 h 1600"/>
              <a:gd name="T10" fmla="*/ 0 w 12800"/>
              <a:gd name="T11" fmla="*/ 0 h 1600"/>
              <a:gd name="T12" fmla="*/ 0 w 12800"/>
              <a:gd name="T13" fmla="*/ 0 h 1600"/>
              <a:gd name="T14" fmla="*/ 0 60000 65536"/>
              <a:gd name="T15" fmla="*/ 0 60000 65536"/>
              <a:gd name="T16" fmla="*/ 0 60000 65536"/>
              <a:gd name="T17" fmla="*/ 0 60000 65536"/>
              <a:gd name="T18" fmla="*/ 0 60000 65536"/>
              <a:gd name="T19" fmla="*/ 0 60000 65536"/>
              <a:gd name="T20" fmla="*/ 0 60000 65536"/>
              <a:gd name="T21" fmla="*/ 0 w 12800"/>
              <a:gd name="T22" fmla="*/ 0 h 1600"/>
              <a:gd name="T23" fmla="*/ 12800 w 12800"/>
              <a:gd name="T24" fmla="*/ 1600 h 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800" h="1600">
                <a:moveTo>
                  <a:pt x="12800" y="0"/>
                </a:moveTo>
                <a:cubicBezTo>
                  <a:pt x="12800" y="442"/>
                  <a:pt x="12323" y="800"/>
                  <a:pt x="11734" y="800"/>
                </a:cubicBezTo>
                <a:lnTo>
                  <a:pt x="7467" y="800"/>
                </a:lnTo>
                <a:cubicBezTo>
                  <a:pt x="6878" y="800"/>
                  <a:pt x="6400" y="1159"/>
                  <a:pt x="6400" y="1600"/>
                </a:cubicBezTo>
                <a:cubicBezTo>
                  <a:pt x="6400" y="1159"/>
                  <a:pt x="5923" y="800"/>
                  <a:pt x="5334" y="800"/>
                </a:cubicBezTo>
                <a:lnTo>
                  <a:pt x="1067" y="800"/>
                </a:lnTo>
                <a:cubicBezTo>
                  <a:pt x="478" y="800"/>
                  <a:pt x="0" y="442"/>
                  <a:pt x="0" y="0"/>
                </a:cubicBezTo>
              </a:path>
            </a:pathLst>
          </a:custGeom>
          <a:noFill/>
          <a:ln w="30163" cap="rnd">
            <a:solidFill>
              <a:srgbClr val="80808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Ubuntu"/>
              <a:ea typeface="ＭＳ Ｐゴシック" pitchFamily="34" charset="-128"/>
              <a:cs typeface="+mn-cs"/>
            </a:endParaRPr>
          </a:p>
        </p:txBody>
      </p:sp>
      <p:sp>
        <p:nvSpPr>
          <p:cNvPr id="27" name="AutoShape 263">
            <a:extLst>
              <a:ext uri="{FF2B5EF4-FFF2-40B4-BE49-F238E27FC236}">
                <a16:creationId xmlns:a16="http://schemas.microsoft.com/office/drawing/2014/main" id="{363F2A89-BE42-A635-CBC8-1A4CE69D1DC1}"/>
              </a:ext>
            </a:extLst>
          </p:cNvPr>
          <p:cNvSpPr>
            <a:spLocks noChangeArrowheads="1"/>
          </p:cNvSpPr>
          <p:nvPr/>
        </p:nvSpPr>
        <p:spPr bwMode="auto">
          <a:xfrm>
            <a:off x="7024701" y="5355546"/>
            <a:ext cx="2560319" cy="1251625"/>
          </a:xfrm>
          <a:prstGeom prst="roundRect">
            <a:avLst>
              <a:gd name="adj" fmla="val 0"/>
            </a:avLst>
          </a:prstGeom>
          <a:noFill/>
          <a:ln w="9525" algn="ctr">
            <a:noFill/>
            <a:miter lim="800000"/>
            <a:headEnd/>
            <a:tailEnd/>
          </a:ln>
        </p:spPr>
        <p:txBody>
          <a:bodyPr wrap="square">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Early defect identification</a:t>
            </a:r>
          </a:p>
          <a:p>
            <a:pPr marL="173038" indent="-173038" fontAlgn="base">
              <a:spcBef>
                <a:spcPts val="200"/>
              </a:spcBef>
              <a:buClr>
                <a:srgbClr val="12ABDB"/>
              </a:buClr>
              <a:buFont typeface="Wingdings" panose="05000000000000000000" pitchFamily="2" charset="2"/>
              <a:buChar char="§"/>
              <a:defRPr/>
            </a:pPr>
            <a:r>
              <a:rPr lang="en-US" sz="1200" kern="0" dirty="0">
                <a:latin typeface="Ubuntu"/>
                <a:cs typeface="Arial" panose="020B0604020202020204" pitchFamily="34" charset="0"/>
              </a:rPr>
              <a:t>Proven experience in faster &amp; Smother executions.</a:t>
            </a:r>
          </a:p>
          <a:p>
            <a:pPr marL="173038" indent="-173038" fontAlgn="base">
              <a:spcBef>
                <a:spcPts val="200"/>
              </a:spcBef>
              <a:buClr>
                <a:srgbClr val="12ABDB"/>
              </a:buClr>
              <a:buFont typeface="Wingdings" panose="05000000000000000000" pitchFamily="2" charset="2"/>
              <a:buChar char="§"/>
              <a:defRPr/>
            </a:pPr>
            <a:r>
              <a:rPr lang="en-US" sz="1200" kern="0" dirty="0">
                <a:latin typeface="Ubuntu"/>
                <a:cs typeface="Arial" panose="020B0604020202020204" pitchFamily="34" charset="0"/>
              </a:rPr>
              <a:t>Reach out to specific functional owners for faster defect resolution.</a:t>
            </a:r>
            <a:endPar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p:txBody>
      </p:sp>
      <p:sp>
        <p:nvSpPr>
          <p:cNvPr id="28" name="AutoShape 269">
            <a:extLst>
              <a:ext uri="{FF2B5EF4-FFF2-40B4-BE49-F238E27FC236}">
                <a16:creationId xmlns:a16="http://schemas.microsoft.com/office/drawing/2014/main" id="{B7664D11-648D-4036-7856-646CBC3A6900}"/>
              </a:ext>
            </a:extLst>
          </p:cNvPr>
          <p:cNvSpPr>
            <a:spLocks noChangeArrowheads="1"/>
          </p:cNvSpPr>
          <p:nvPr/>
        </p:nvSpPr>
        <p:spPr bwMode="auto">
          <a:xfrm>
            <a:off x="4795700" y="4355804"/>
            <a:ext cx="2194560" cy="487313"/>
          </a:xfrm>
          <a:prstGeom prst="roundRect">
            <a:avLst>
              <a:gd name="adj" fmla="val 0"/>
            </a:avLst>
          </a:prstGeom>
          <a:noFill/>
          <a:ln w="9525" algn="ctr">
            <a:noFill/>
            <a:miter lim="800000"/>
            <a:headEnd/>
            <a:tailEnd/>
          </a:ln>
        </p:spPr>
        <p:txBody>
          <a:bodyPr wrap="square">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Automated test scripts</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endPar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p:txBody>
      </p:sp>
      <p:sp>
        <p:nvSpPr>
          <p:cNvPr id="30" name="AutoShape 263">
            <a:extLst>
              <a:ext uri="{FF2B5EF4-FFF2-40B4-BE49-F238E27FC236}">
                <a16:creationId xmlns:a16="http://schemas.microsoft.com/office/drawing/2014/main" id="{8DBF151A-3E25-AB54-21F0-30CBAB79EDF9}"/>
              </a:ext>
            </a:extLst>
          </p:cNvPr>
          <p:cNvSpPr>
            <a:spLocks noChangeArrowheads="1"/>
          </p:cNvSpPr>
          <p:nvPr/>
        </p:nvSpPr>
        <p:spPr bwMode="auto">
          <a:xfrm>
            <a:off x="9477416" y="4285859"/>
            <a:ext cx="2194560" cy="671979"/>
          </a:xfrm>
          <a:prstGeom prst="roundRect">
            <a:avLst>
              <a:gd name="adj" fmla="val 0"/>
            </a:avLst>
          </a:prstGeom>
          <a:noFill/>
          <a:ln w="9525" algn="ctr">
            <a:noFill/>
            <a:miter lim="800000"/>
            <a:headEnd/>
            <a:tailEnd/>
          </a:ln>
        </p:spPr>
        <p:txBody>
          <a:bodyPr>
            <a:spAutoFit/>
          </a:bodyPr>
          <a:lstStyle/>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Closure Report and Recommendations</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endPar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p:txBody>
      </p:sp>
      <p:sp>
        <p:nvSpPr>
          <p:cNvPr id="37" name="Title 1">
            <a:extLst>
              <a:ext uri="{FF2B5EF4-FFF2-40B4-BE49-F238E27FC236}">
                <a16:creationId xmlns:a16="http://schemas.microsoft.com/office/drawing/2014/main" id="{84F1E551-6E86-4DE1-5EC7-E62C36D858E6}"/>
              </a:ext>
            </a:extLst>
          </p:cNvPr>
          <p:cNvSpPr txBox="1">
            <a:spLocks/>
          </p:cNvSpPr>
          <p:nvPr/>
        </p:nvSpPr>
        <p:spPr>
          <a:xfrm>
            <a:off x="364936" y="250829"/>
            <a:ext cx="11009685" cy="387798"/>
          </a:xfrm>
          <a:prstGeom prst="rect">
            <a:avLst/>
          </a:prstGeom>
        </p:spPr>
        <p:txBody>
          <a:bodyPr vert="horz" lIns="0" tIns="0" rIns="0" bIns="0" rtlCol="0" anchor="ctr"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1" i="0" u="none" strike="noStrike" kern="1200" cap="none" spc="0" normalizeH="0" baseline="0" noProof="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2800" b="1" i="0" u="none" strike="noStrike" kern="1200" cap="all" spc="0" normalizeH="0" baseline="0" noProof="0" dirty="0">
                <a:ln>
                  <a:noFill/>
                </a:ln>
                <a:solidFill>
                  <a:srgbClr val="0070AD"/>
                </a:solidFill>
                <a:effectLst/>
                <a:uLnTx/>
                <a:uFillTx/>
                <a:latin typeface="Ubuntu"/>
                <a:ea typeface="+mj-ea"/>
                <a:cs typeface="+mj-cs"/>
              </a:rPr>
              <a:t>Test Automation Approach 		-	In progress</a:t>
            </a:r>
          </a:p>
        </p:txBody>
      </p:sp>
      <p:grpSp>
        <p:nvGrpSpPr>
          <p:cNvPr id="39" name="Group 38">
            <a:extLst>
              <a:ext uri="{FF2B5EF4-FFF2-40B4-BE49-F238E27FC236}">
                <a16:creationId xmlns:a16="http://schemas.microsoft.com/office/drawing/2014/main" id="{B787F277-467B-1DB0-CEBD-18584289BD8B}"/>
              </a:ext>
            </a:extLst>
          </p:cNvPr>
          <p:cNvGrpSpPr/>
          <p:nvPr/>
        </p:nvGrpSpPr>
        <p:grpSpPr>
          <a:xfrm>
            <a:off x="259058" y="4004439"/>
            <a:ext cx="2212791" cy="2057601"/>
            <a:chOff x="259062" y="4013526"/>
            <a:chExt cx="2212791" cy="2057601"/>
          </a:xfrm>
        </p:grpSpPr>
        <p:sp>
          <p:nvSpPr>
            <p:cNvPr id="17" name="Rectangle 282">
              <a:extLst>
                <a:ext uri="{FF2B5EF4-FFF2-40B4-BE49-F238E27FC236}">
                  <a16:creationId xmlns:a16="http://schemas.microsoft.com/office/drawing/2014/main" id="{D76877AD-F9A0-4477-041C-4CF5E9C3ABF6}"/>
                </a:ext>
              </a:extLst>
            </p:cNvPr>
            <p:cNvSpPr>
              <a:spLocks noChangeArrowheads="1"/>
            </p:cNvSpPr>
            <p:nvPr/>
          </p:nvSpPr>
          <p:spPr bwMode="auto">
            <a:xfrm>
              <a:off x="274131" y="4013526"/>
              <a:ext cx="2127515"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Ubuntu"/>
                  <a:ea typeface="ＭＳ Ｐゴシック" pitchFamily="34" charset="-128"/>
                  <a:cs typeface="Arial" charset="0"/>
                </a:rPr>
                <a:t>Deliverables</a:t>
              </a:r>
            </a:p>
          </p:txBody>
        </p:sp>
        <p:sp>
          <p:nvSpPr>
            <p:cNvPr id="29" name="AutoShape 281">
              <a:extLst>
                <a:ext uri="{FF2B5EF4-FFF2-40B4-BE49-F238E27FC236}">
                  <a16:creationId xmlns:a16="http://schemas.microsoft.com/office/drawing/2014/main" id="{672CC275-A0F0-9BC9-E518-F4FBEBA527CB}"/>
                </a:ext>
              </a:extLst>
            </p:cNvPr>
            <p:cNvSpPr>
              <a:spLocks noChangeArrowheads="1"/>
            </p:cNvSpPr>
            <p:nvPr/>
          </p:nvSpPr>
          <p:spPr bwMode="auto">
            <a:xfrm>
              <a:off x="259062" y="4397458"/>
              <a:ext cx="2194560" cy="646331"/>
            </a:xfrm>
            <a:prstGeom prst="roundRect">
              <a:avLst>
                <a:gd name="adj" fmla="val 0"/>
              </a:avLst>
            </a:prstGeom>
            <a:noFill/>
            <a:ln w="9525" algn="ctr">
              <a:noFill/>
              <a:miter lim="800000"/>
              <a:headEnd/>
              <a:tailEnd/>
            </a:ln>
          </p:spPr>
          <p:txBody>
            <a:bodyPr>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Environment/Applications access and Automation Tool setup is completed</a:t>
              </a:r>
            </a:p>
          </p:txBody>
        </p:sp>
        <p:cxnSp>
          <p:nvCxnSpPr>
            <p:cNvPr id="31" name="Straight Connector 30">
              <a:extLst>
                <a:ext uri="{FF2B5EF4-FFF2-40B4-BE49-F238E27FC236}">
                  <a16:creationId xmlns:a16="http://schemas.microsoft.com/office/drawing/2014/main" id="{1AF28D2E-9A89-759D-8ADE-4DDD2A603FBA}"/>
                </a:ext>
              </a:extLst>
            </p:cNvPr>
            <p:cNvCxnSpPr>
              <a:cxnSpLocks/>
              <a:stCxn id="17" idx="1"/>
            </p:cNvCxnSpPr>
            <p:nvPr/>
          </p:nvCxnSpPr>
          <p:spPr>
            <a:xfrm>
              <a:off x="274131" y="4196406"/>
              <a:ext cx="0" cy="1874721"/>
            </a:xfrm>
            <a:prstGeom prst="line">
              <a:avLst/>
            </a:prstGeom>
            <a:noFill/>
            <a:ln w="12700" cap="flat" cmpd="sng" algn="ctr">
              <a:solidFill>
                <a:srgbClr val="12ABDB"/>
              </a:solidFill>
              <a:prstDash val="dash"/>
              <a:miter lim="800000"/>
            </a:ln>
            <a:effectLst/>
          </p:spPr>
        </p:cxnSp>
        <p:sp>
          <p:nvSpPr>
            <p:cNvPr id="2" name="Rectangle 282">
              <a:extLst>
                <a:ext uri="{FF2B5EF4-FFF2-40B4-BE49-F238E27FC236}">
                  <a16:creationId xmlns:a16="http://schemas.microsoft.com/office/drawing/2014/main" id="{E75DBFE1-75B7-5A61-6A84-0958D2F105ED}"/>
                </a:ext>
              </a:extLst>
            </p:cNvPr>
            <p:cNvSpPr>
              <a:spLocks noChangeArrowheads="1"/>
            </p:cNvSpPr>
            <p:nvPr/>
          </p:nvSpPr>
          <p:spPr bwMode="auto">
            <a:xfrm>
              <a:off x="344148" y="5045360"/>
              <a:ext cx="2127705"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N" sz="1400" b="1" i="0" u="none" strike="noStrike" kern="0" cap="none" spc="0" normalizeH="0" baseline="0" noProof="0" dirty="0">
                  <a:ln>
                    <a:noFill/>
                  </a:ln>
                  <a:solidFill>
                    <a:prstClr val="white"/>
                  </a:solidFill>
                  <a:effectLst/>
                  <a:uLnTx/>
                  <a:uFillTx/>
                  <a:latin typeface="Ubuntu"/>
                  <a:ea typeface="ＭＳ Ｐゴシック" pitchFamily="34" charset="-128"/>
                  <a:cs typeface="Arial" charset="0"/>
                </a:rPr>
                <a:t>CG - Value proposition </a:t>
              </a:r>
              <a:endParaRPr kumimoji="0" lang="en-US" sz="1400" b="1" i="0" u="none" strike="noStrike" kern="0" cap="none" spc="0" normalizeH="0" baseline="0" noProof="0" dirty="0">
                <a:ln>
                  <a:noFill/>
                </a:ln>
                <a:solidFill>
                  <a:prstClr val="white"/>
                </a:solidFill>
                <a:effectLst/>
                <a:uLnTx/>
                <a:uFillTx/>
                <a:latin typeface="Ubuntu"/>
                <a:ea typeface="ＭＳ Ｐゴシック" pitchFamily="34" charset="-128"/>
                <a:cs typeface="Arial" charset="0"/>
              </a:endParaRPr>
            </a:p>
          </p:txBody>
        </p:sp>
      </p:grpSp>
      <p:grpSp>
        <p:nvGrpSpPr>
          <p:cNvPr id="46" name="Group 45">
            <a:extLst>
              <a:ext uri="{FF2B5EF4-FFF2-40B4-BE49-F238E27FC236}">
                <a16:creationId xmlns:a16="http://schemas.microsoft.com/office/drawing/2014/main" id="{2E990A43-56A5-ECAC-84DD-DA39A39F11F0}"/>
              </a:ext>
            </a:extLst>
          </p:cNvPr>
          <p:cNvGrpSpPr/>
          <p:nvPr/>
        </p:nvGrpSpPr>
        <p:grpSpPr>
          <a:xfrm>
            <a:off x="2530036" y="4001748"/>
            <a:ext cx="2194560" cy="2057601"/>
            <a:chOff x="259062" y="4013526"/>
            <a:chExt cx="2194560" cy="2057601"/>
          </a:xfrm>
        </p:grpSpPr>
        <p:sp>
          <p:nvSpPr>
            <p:cNvPr id="47" name="Rectangle 282">
              <a:extLst>
                <a:ext uri="{FF2B5EF4-FFF2-40B4-BE49-F238E27FC236}">
                  <a16:creationId xmlns:a16="http://schemas.microsoft.com/office/drawing/2014/main" id="{689EF177-F62C-900F-08AF-E5FA30D347A1}"/>
                </a:ext>
              </a:extLst>
            </p:cNvPr>
            <p:cNvSpPr>
              <a:spLocks noChangeArrowheads="1"/>
            </p:cNvSpPr>
            <p:nvPr/>
          </p:nvSpPr>
          <p:spPr bwMode="auto">
            <a:xfrm>
              <a:off x="274131" y="4013526"/>
              <a:ext cx="2127515"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Ubuntu"/>
                  <a:ea typeface="ＭＳ Ｐゴシック" pitchFamily="34" charset="-128"/>
                  <a:cs typeface="Arial" charset="0"/>
                </a:rPr>
                <a:t>Deliverables</a:t>
              </a:r>
            </a:p>
          </p:txBody>
        </p:sp>
        <p:sp>
          <p:nvSpPr>
            <p:cNvPr id="48" name="AutoShape 281">
              <a:extLst>
                <a:ext uri="{FF2B5EF4-FFF2-40B4-BE49-F238E27FC236}">
                  <a16:creationId xmlns:a16="http://schemas.microsoft.com/office/drawing/2014/main" id="{4FF1A48C-2CEF-5082-B917-2B95EC1051EE}"/>
                </a:ext>
              </a:extLst>
            </p:cNvPr>
            <p:cNvSpPr>
              <a:spLocks noChangeArrowheads="1"/>
            </p:cNvSpPr>
            <p:nvPr/>
          </p:nvSpPr>
          <p:spPr bwMode="auto">
            <a:xfrm>
              <a:off x="259062" y="4397458"/>
              <a:ext cx="2194560" cy="276999"/>
            </a:xfrm>
            <a:prstGeom prst="roundRect">
              <a:avLst>
                <a:gd name="adj" fmla="val 0"/>
              </a:avLst>
            </a:prstGeom>
            <a:noFill/>
            <a:ln w="9525" algn="ctr">
              <a:noFill/>
              <a:miter lim="800000"/>
              <a:headEnd/>
              <a:tailEnd/>
            </a:ln>
          </p:spPr>
          <p:txBody>
            <a:bodyPr>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endPar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p:txBody>
        </p:sp>
        <p:cxnSp>
          <p:nvCxnSpPr>
            <p:cNvPr id="49" name="Straight Connector 48">
              <a:extLst>
                <a:ext uri="{FF2B5EF4-FFF2-40B4-BE49-F238E27FC236}">
                  <a16:creationId xmlns:a16="http://schemas.microsoft.com/office/drawing/2014/main" id="{A4378636-CDD5-1675-4454-741C094D06B9}"/>
                </a:ext>
              </a:extLst>
            </p:cNvPr>
            <p:cNvCxnSpPr>
              <a:cxnSpLocks/>
              <a:stCxn id="47" idx="1"/>
            </p:cNvCxnSpPr>
            <p:nvPr/>
          </p:nvCxnSpPr>
          <p:spPr>
            <a:xfrm>
              <a:off x="274131" y="4196406"/>
              <a:ext cx="0" cy="1874721"/>
            </a:xfrm>
            <a:prstGeom prst="line">
              <a:avLst/>
            </a:prstGeom>
            <a:noFill/>
            <a:ln w="12700" cap="flat" cmpd="sng" algn="ctr">
              <a:solidFill>
                <a:srgbClr val="12ABDB"/>
              </a:solidFill>
              <a:prstDash val="dash"/>
              <a:miter lim="800000"/>
            </a:ln>
            <a:effectLst/>
          </p:spPr>
        </p:cxnSp>
        <p:sp>
          <p:nvSpPr>
            <p:cNvPr id="50" name="Rectangle 282">
              <a:extLst>
                <a:ext uri="{FF2B5EF4-FFF2-40B4-BE49-F238E27FC236}">
                  <a16:creationId xmlns:a16="http://schemas.microsoft.com/office/drawing/2014/main" id="{D386B660-5085-B90A-F28C-22E5C40F5296}"/>
                </a:ext>
              </a:extLst>
            </p:cNvPr>
            <p:cNvSpPr>
              <a:spLocks noChangeArrowheads="1"/>
            </p:cNvSpPr>
            <p:nvPr/>
          </p:nvSpPr>
          <p:spPr bwMode="auto">
            <a:xfrm>
              <a:off x="307562" y="5052322"/>
              <a:ext cx="2127705"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N" sz="1400" b="1" i="0" u="none" strike="noStrike" kern="0" cap="none" spc="0" normalizeH="0" baseline="0" noProof="0" dirty="0">
                  <a:ln>
                    <a:noFill/>
                  </a:ln>
                  <a:solidFill>
                    <a:prstClr val="white"/>
                  </a:solidFill>
                  <a:effectLst/>
                  <a:uLnTx/>
                  <a:uFillTx/>
                  <a:latin typeface="Ubuntu"/>
                  <a:ea typeface="ＭＳ Ｐゴシック" pitchFamily="34" charset="-128"/>
                  <a:cs typeface="Arial" charset="0"/>
                </a:rPr>
                <a:t>CG - Value proposition </a:t>
              </a:r>
              <a:endParaRPr kumimoji="0" lang="en-US" sz="1400" b="1" i="0" u="none" strike="noStrike" kern="0" cap="none" spc="0" normalizeH="0" baseline="0" noProof="0" dirty="0">
                <a:ln>
                  <a:noFill/>
                </a:ln>
                <a:solidFill>
                  <a:prstClr val="white"/>
                </a:solidFill>
                <a:effectLst/>
                <a:uLnTx/>
                <a:uFillTx/>
                <a:latin typeface="Ubuntu"/>
                <a:ea typeface="ＭＳ Ｐゴシック" pitchFamily="34" charset="-128"/>
                <a:cs typeface="Arial" charset="0"/>
              </a:endParaRPr>
            </a:p>
          </p:txBody>
        </p:sp>
      </p:grpSp>
      <p:sp>
        <p:nvSpPr>
          <p:cNvPr id="51" name="AutoShape 281">
            <a:extLst>
              <a:ext uri="{FF2B5EF4-FFF2-40B4-BE49-F238E27FC236}">
                <a16:creationId xmlns:a16="http://schemas.microsoft.com/office/drawing/2014/main" id="{68329E6C-28DF-05A1-0D53-43C29AE57EC1}"/>
              </a:ext>
            </a:extLst>
          </p:cNvPr>
          <p:cNvSpPr>
            <a:spLocks noChangeArrowheads="1"/>
          </p:cNvSpPr>
          <p:nvPr/>
        </p:nvSpPr>
        <p:spPr bwMode="auto">
          <a:xfrm>
            <a:off x="287658" y="5403730"/>
            <a:ext cx="2261611" cy="830997"/>
          </a:xfrm>
          <a:prstGeom prst="roundRect">
            <a:avLst>
              <a:gd name="adj" fmla="val 0"/>
            </a:avLst>
          </a:prstGeom>
          <a:noFill/>
          <a:ln w="9525" algn="ctr">
            <a:noFill/>
            <a:miter lim="800000"/>
            <a:headEnd/>
            <a:tailEnd/>
          </a:ln>
        </p:spPr>
        <p:txBody>
          <a:bodyPr wrap="square">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IN"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Check for specified roles and responsibility access for all integrated applications</a:t>
            </a:r>
            <a:endPar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p:txBody>
      </p:sp>
      <p:sp>
        <p:nvSpPr>
          <p:cNvPr id="52" name="AutoShape 281">
            <a:extLst>
              <a:ext uri="{FF2B5EF4-FFF2-40B4-BE49-F238E27FC236}">
                <a16:creationId xmlns:a16="http://schemas.microsoft.com/office/drawing/2014/main" id="{17E3FE04-591E-EBBE-DEC5-1E15A66ADC9E}"/>
              </a:ext>
            </a:extLst>
          </p:cNvPr>
          <p:cNvSpPr>
            <a:spLocks noChangeArrowheads="1"/>
          </p:cNvSpPr>
          <p:nvPr/>
        </p:nvSpPr>
        <p:spPr bwMode="auto">
          <a:xfrm>
            <a:off x="2530036" y="4334547"/>
            <a:ext cx="2194560" cy="671979"/>
          </a:xfrm>
          <a:prstGeom prst="roundRect">
            <a:avLst>
              <a:gd name="adj" fmla="val 0"/>
            </a:avLst>
          </a:prstGeom>
          <a:noFill/>
          <a:ln w="9525" algn="ctr">
            <a:noFill/>
            <a:miter lim="800000"/>
            <a:headEnd/>
            <a:tailEnd/>
          </a:ln>
        </p:spPr>
        <p:txBody>
          <a:bodyPr>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Execution Schedule for entire SIT/</a:t>
            </a:r>
            <a:r>
              <a:rPr kumimoji="0" lang="en-US" sz="1200" b="0" i="0" u="none" strike="noStrike" kern="1200" cap="none" spc="0" normalizeH="0" baseline="0" noProof="0" dirty="0" err="1">
                <a:ln>
                  <a:noFill/>
                </a:ln>
                <a:solidFill>
                  <a:prstClr val="black"/>
                </a:solidFill>
                <a:effectLst/>
                <a:uLnTx/>
                <a:uFillTx/>
                <a:latin typeface="Ubuntu"/>
                <a:ea typeface="ＭＳ Ｐゴシック" pitchFamily="34" charset="-128"/>
                <a:cs typeface="Arial" panose="020B0604020202020204" pitchFamily="34" charset="0"/>
              </a:rPr>
              <a:t>UAT</a:t>
            </a:r>
            <a:endPar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endPar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p:txBody>
      </p:sp>
      <p:sp>
        <p:nvSpPr>
          <p:cNvPr id="53" name="AutoShape 281">
            <a:extLst>
              <a:ext uri="{FF2B5EF4-FFF2-40B4-BE49-F238E27FC236}">
                <a16:creationId xmlns:a16="http://schemas.microsoft.com/office/drawing/2014/main" id="{938D67BA-BE9F-1D06-61D6-EF91B4211F1C}"/>
              </a:ext>
            </a:extLst>
          </p:cNvPr>
          <p:cNvSpPr>
            <a:spLocks noChangeArrowheads="1"/>
          </p:cNvSpPr>
          <p:nvPr/>
        </p:nvSpPr>
        <p:spPr bwMode="auto">
          <a:xfrm>
            <a:off x="2485791" y="5429107"/>
            <a:ext cx="2307557" cy="1041311"/>
          </a:xfrm>
          <a:prstGeom prst="roundRect">
            <a:avLst>
              <a:gd name="adj" fmla="val 0"/>
            </a:avLst>
          </a:prstGeom>
          <a:noFill/>
          <a:ln w="9525" algn="ctr">
            <a:noFill/>
            <a:miter lim="800000"/>
            <a:headEnd/>
            <a:tailEnd/>
          </a:ln>
        </p:spPr>
        <p:txBody>
          <a:bodyPr wrap="square">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lang="en-IN" sz="1200" dirty="0">
                <a:solidFill>
                  <a:prstClr val="black"/>
                </a:solidFill>
                <a:latin typeface="Ubuntu"/>
                <a:ea typeface="ＭＳ Ｐゴシック" pitchFamily="34" charset="-128"/>
                <a:cs typeface="Arial" panose="020B0604020202020204" pitchFamily="34" charset="0"/>
              </a:rPr>
              <a:t>Can understand and implement the plan without any delays.</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lang="en-IN" sz="1200" dirty="0">
                <a:solidFill>
                  <a:prstClr val="black"/>
                </a:solidFill>
                <a:latin typeface="Ubuntu"/>
                <a:ea typeface="ＭＳ Ｐゴシック" pitchFamily="34" charset="-128"/>
                <a:cs typeface="Arial" panose="020B0604020202020204" pitchFamily="34" charset="0"/>
              </a:rPr>
              <a:t>Capability to identify missing  or Wrong data.</a:t>
            </a:r>
            <a:endPar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p:txBody>
      </p:sp>
      <p:grpSp>
        <p:nvGrpSpPr>
          <p:cNvPr id="54" name="Group 53">
            <a:extLst>
              <a:ext uri="{FF2B5EF4-FFF2-40B4-BE49-F238E27FC236}">
                <a16:creationId xmlns:a16="http://schemas.microsoft.com/office/drawing/2014/main" id="{930FCEC3-B032-8B0D-36B5-99971D1A52D0}"/>
              </a:ext>
            </a:extLst>
          </p:cNvPr>
          <p:cNvGrpSpPr/>
          <p:nvPr/>
        </p:nvGrpSpPr>
        <p:grpSpPr>
          <a:xfrm>
            <a:off x="4804254" y="3998075"/>
            <a:ext cx="2194560" cy="2057601"/>
            <a:chOff x="259062" y="4013526"/>
            <a:chExt cx="2194560" cy="2057601"/>
          </a:xfrm>
        </p:grpSpPr>
        <p:sp>
          <p:nvSpPr>
            <p:cNvPr id="55" name="Rectangle 282">
              <a:extLst>
                <a:ext uri="{FF2B5EF4-FFF2-40B4-BE49-F238E27FC236}">
                  <a16:creationId xmlns:a16="http://schemas.microsoft.com/office/drawing/2014/main" id="{EA3CCA58-6D05-7F39-BA26-544D47E7AB0D}"/>
                </a:ext>
              </a:extLst>
            </p:cNvPr>
            <p:cNvSpPr>
              <a:spLocks noChangeArrowheads="1"/>
            </p:cNvSpPr>
            <p:nvPr/>
          </p:nvSpPr>
          <p:spPr bwMode="auto">
            <a:xfrm>
              <a:off x="274131" y="4013526"/>
              <a:ext cx="2127515"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Ubuntu"/>
                  <a:ea typeface="ＭＳ Ｐゴシック" pitchFamily="34" charset="-128"/>
                  <a:cs typeface="Arial" charset="0"/>
                </a:rPr>
                <a:t>Deliverables</a:t>
              </a:r>
            </a:p>
          </p:txBody>
        </p:sp>
        <p:sp>
          <p:nvSpPr>
            <p:cNvPr id="56" name="AutoShape 281">
              <a:extLst>
                <a:ext uri="{FF2B5EF4-FFF2-40B4-BE49-F238E27FC236}">
                  <a16:creationId xmlns:a16="http://schemas.microsoft.com/office/drawing/2014/main" id="{9A470C4F-56C7-C0AC-6C4A-6995294AE7A3}"/>
                </a:ext>
              </a:extLst>
            </p:cNvPr>
            <p:cNvSpPr>
              <a:spLocks noChangeArrowheads="1"/>
            </p:cNvSpPr>
            <p:nvPr/>
          </p:nvSpPr>
          <p:spPr bwMode="auto">
            <a:xfrm>
              <a:off x="259062" y="4397458"/>
              <a:ext cx="2194560" cy="276999"/>
            </a:xfrm>
            <a:prstGeom prst="roundRect">
              <a:avLst>
                <a:gd name="adj" fmla="val 0"/>
              </a:avLst>
            </a:prstGeom>
            <a:noFill/>
            <a:ln w="9525" algn="ctr">
              <a:noFill/>
              <a:miter lim="800000"/>
              <a:headEnd/>
              <a:tailEnd/>
            </a:ln>
          </p:spPr>
          <p:txBody>
            <a:bodyPr>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endPar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p:txBody>
        </p:sp>
        <p:cxnSp>
          <p:nvCxnSpPr>
            <p:cNvPr id="57" name="Straight Connector 56">
              <a:extLst>
                <a:ext uri="{FF2B5EF4-FFF2-40B4-BE49-F238E27FC236}">
                  <a16:creationId xmlns:a16="http://schemas.microsoft.com/office/drawing/2014/main" id="{E228B25A-30D3-A6A3-39C5-E747C3866B79}"/>
                </a:ext>
              </a:extLst>
            </p:cNvPr>
            <p:cNvCxnSpPr>
              <a:cxnSpLocks/>
              <a:stCxn id="55" idx="1"/>
            </p:cNvCxnSpPr>
            <p:nvPr/>
          </p:nvCxnSpPr>
          <p:spPr>
            <a:xfrm>
              <a:off x="274131" y="4196406"/>
              <a:ext cx="0" cy="1874721"/>
            </a:xfrm>
            <a:prstGeom prst="line">
              <a:avLst/>
            </a:prstGeom>
            <a:noFill/>
            <a:ln w="12700" cap="flat" cmpd="sng" algn="ctr">
              <a:solidFill>
                <a:srgbClr val="12ABDB"/>
              </a:solidFill>
              <a:prstDash val="dash"/>
              <a:miter lim="800000"/>
            </a:ln>
            <a:effectLst/>
          </p:spPr>
        </p:cxnSp>
        <p:sp>
          <p:nvSpPr>
            <p:cNvPr id="58" name="Rectangle 282">
              <a:extLst>
                <a:ext uri="{FF2B5EF4-FFF2-40B4-BE49-F238E27FC236}">
                  <a16:creationId xmlns:a16="http://schemas.microsoft.com/office/drawing/2014/main" id="{62D404BF-7502-508C-FAAF-8B39E858E696}"/>
                </a:ext>
              </a:extLst>
            </p:cNvPr>
            <p:cNvSpPr>
              <a:spLocks noChangeArrowheads="1"/>
            </p:cNvSpPr>
            <p:nvPr/>
          </p:nvSpPr>
          <p:spPr bwMode="auto">
            <a:xfrm>
              <a:off x="291313" y="5051970"/>
              <a:ext cx="2127705"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N" sz="1400" b="1" i="0" u="none" strike="noStrike" kern="0" cap="none" spc="0" normalizeH="0" baseline="0" noProof="0" dirty="0">
                  <a:ln>
                    <a:noFill/>
                  </a:ln>
                  <a:solidFill>
                    <a:prstClr val="white"/>
                  </a:solidFill>
                  <a:effectLst/>
                  <a:uLnTx/>
                  <a:uFillTx/>
                  <a:latin typeface="Ubuntu"/>
                  <a:ea typeface="ＭＳ Ｐゴシック" pitchFamily="34" charset="-128"/>
                  <a:cs typeface="Arial" charset="0"/>
                </a:rPr>
                <a:t>CG - Value proposition </a:t>
              </a:r>
              <a:endParaRPr kumimoji="0" lang="en-US" sz="1400" b="1" i="0" u="none" strike="noStrike" kern="0" cap="none" spc="0" normalizeH="0" baseline="0" noProof="0" dirty="0">
                <a:ln>
                  <a:noFill/>
                </a:ln>
                <a:solidFill>
                  <a:prstClr val="white"/>
                </a:solidFill>
                <a:effectLst/>
                <a:uLnTx/>
                <a:uFillTx/>
                <a:latin typeface="Ubuntu"/>
                <a:ea typeface="ＭＳ Ｐゴシック" pitchFamily="34" charset="-128"/>
                <a:cs typeface="Arial" charset="0"/>
              </a:endParaRPr>
            </a:p>
          </p:txBody>
        </p:sp>
      </p:grpSp>
      <p:sp>
        <p:nvSpPr>
          <p:cNvPr id="64" name="AutoShape 281">
            <a:extLst>
              <a:ext uri="{FF2B5EF4-FFF2-40B4-BE49-F238E27FC236}">
                <a16:creationId xmlns:a16="http://schemas.microsoft.com/office/drawing/2014/main" id="{EE10FEED-0146-0010-E5AB-354B90EA7D09}"/>
              </a:ext>
            </a:extLst>
          </p:cNvPr>
          <p:cNvSpPr>
            <a:spLocks noChangeArrowheads="1"/>
          </p:cNvSpPr>
          <p:nvPr/>
        </p:nvSpPr>
        <p:spPr bwMode="auto">
          <a:xfrm>
            <a:off x="4756925" y="5390818"/>
            <a:ext cx="2246381" cy="1410643"/>
          </a:xfrm>
          <a:prstGeom prst="roundRect">
            <a:avLst>
              <a:gd name="adj" fmla="val 0"/>
            </a:avLst>
          </a:prstGeom>
          <a:noFill/>
          <a:ln w="9525" algn="ctr">
            <a:noFill/>
            <a:miter lim="800000"/>
            <a:headEnd/>
            <a:tailEnd/>
          </a:ln>
        </p:spPr>
        <p:txBody>
          <a:bodyPr wrap="square">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lang="en-IN" sz="1200" dirty="0">
                <a:solidFill>
                  <a:prstClr val="black"/>
                </a:solidFill>
                <a:latin typeface="Ubuntu"/>
                <a:ea typeface="ＭＳ Ｐゴシック" pitchFamily="34" charset="-128"/>
                <a:cs typeface="Arial" panose="020B0604020202020204" pitchFamily="34" charset="0"/>
              </a:rPr>
              <a:t>In-depth functional knowledge helps develop/Modify scripts faster.</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lang="en-US" sz="1200" kern="0" dirty="0">
                <a:latin typeface="Ubuntu"/>
                <a:cs typeface="Arial" panose="020B0604020202020204" pitchFamily="34" charset="0"/>
              </a:rPr>
              <a:t>Identify opportunities for automation for any repetitive tasks</a:t>
            </a:r>
            <a:endPar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p:txBody>
      </p:sp>
      <p:grpSp>
        <p:nvGrpSpPr>
          <p:cNvPr id="65" name="Group 64">
            <a:extLst>
              <a:ext uri="{FF2B5EF4-FFF2-40B4-BE49-F238E27FC236}">
                <a16:creationId xmlns:a16="http://schemas.microsoft.com/office/drawing/2014/main" id="{5FE52296-98B5-D583-F1EC-2BE8D8E4E1D3}"/>
              </a:ext>
            </a:extLst>
          </p:cNvPr>
          <p:cNvGrpSpPr/>
          <p:nvPr/>
        </p:nvGrpSpPr>
        <p:grpSpPr>
          <a:xfrm>
            <a:off x="7069440" y="3977725"/>
            <a:ext cx="2194560" cy="2057601"/>
            <a:chOff x="259062" y="4013526"/>
            <a:chExt cx="2194560" cy="2057601"/>
          </a:xfrm>
        </p:grpSpPr>
        <p:sp>
          <p:nvSpPr>
            <p:cNvPr id="66" name="Rectangle 282">
              <a:extLst>
                <a:ext uri="{FF2B5EF4-FFF2-40B4-BE49-F238E27FC236}">
                  <a16:creationId xmlns:a16="http://schemas.microsoft.com/office/drawing/2014/main" id="{8A75D9C7-F5BE-54C7-8BD3-BF27136309C1}"/>
                </a:ext>
              </a:extLst>
            </p:cNvPr>
            <p:cNvSpPr>
              <a:spLocks noChangeArrowheads="1"/>
            </p:cNvSpPr>
            <p:nvPr/>
          </p:nvSpPr>
          <p:spPr bwMode="auto">
            <a:xfrm>
              <a:off x="274131" y="4013526"/>
              <a:ext cx="2127515"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Ubuntu"/>
                  <a:ea typeface="ＭＳ Ｐゴシック" pitchFamily="34" charset="-128"/>
                  <a:cs typeface="Arial" charset="0"/>
                </a:rPr>
                <a:t>Deliverables</a:t>
              </a:r>
            </a:p>
          </p:txBody>
        </p:sp>
        <p:sp>
          <p:nvSpPr>
            <p:cNvPr id="67" name="AutoShape 281">
              <a:extLst>
                <a:ext uri="{FF2B5EF4-FFF2-40B4-BE49-F238E27FC236}">
                  <a16:creationId xmlns:a16="http://schemas.microsoft.com/office/drawing/2014/main" id="{49237618-023B-05BF-8D97-4FADA93DBE71}"/>
                </a:ext>
              </a:extLst>
            </p:cNvPr>
            <p:cNvSpPr>
              <a:spLocks noChangeArrowheads="1"/>
            </p:cNvSpPr>
            <p:nvPr/>
          </p:nvSpPr>
          <p:spPr bwMode="auto">
            <a:xfrm>
              <a:off x="259062" y="4397458"/>
              <a:ext cx="2194560" cy="276999"/>
            </a:xfrm>
            <a:prstGeom prst="roundRect">
              <a:avLst>
                <a:gd name="adj" fmla="val 0"/>
              </a:avLst>
            </a:prstGeom>
            <a:noFill/>
            <a:ln w="9525" algn="ctr">
              <a:noFill/>
              <a:miter lim="800000"/>
              <a:headEnd/>
              <a:tailEnd/>
            </a:ln>
          </p:spPr>
          <p:txBody>
            <a:bodyPr>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endPar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p:txBody>
        </p:sp>
        <p:cxnSp>
          <p:nvCxnSpPr>
            <p:cNvPr id="68" name="Straight Connector 67">
              <a:extLst>
                <a:ext uri="{FF2B5EF4-FFF2-40B4-BE49-F238E27FC236}">
                  <a16:creationId xmlns:a16="http://schemas.microsoft.com/office/drawing/2014/main" id="{711E1553-339E-B04E-ED0C-36DAC0AC69E4}"/>
                </a:ext>
              </a:extLst>
            </p:cNvPr>
            <p:cNvCxnSpPr>
              <a:cxnSpLocks/>
              <a:stCxn id="66" idx="1"/>
            </p:cNvCxnSpPr>
            <p:nvPr/>
          </p:nvCxnSpPr>
          <p:spPr>
            <a:xfrm>
              <a:off x="274131" y="4196406"/>
              <a:ext cx="0" cy="1874721"/>
            </a:xfrm>
            <a:prstGeom prst="line">
              <a:avLst/>
            </a:prstGeom>
            <a:noFill/>
            <a:ln w="12700" cap="flat" cmpd="sng" algn="ctr">
              <a:solidFill>
                <a:srgbClr val="12ABDB"/>
              </a:solidFill>
              <a:prstDash val="dash"/>
              <a:miter lim="800000"/>
            </a:ln>
            <a:effectLst/>
          </p:spPr>
        </p:cxnSp>
        <p:sp>
          <p:nvSpPr>
            <p:cNvPr id="69" name="Rectangle 282">
              <a:extLst>
                <a:ext uri="{FF2B5EF4-FFF2-40B4-BE49-F238E27FC236}">
                  <a16:creationId xmlns:a16="http://schemas.microsoft.com/office/drawing/2014/main" id="{2D925DA2-2B37-FA8F-9C8D-FCA94278BF1D}"/>
                </a:ext>
              </a:extLst>
            </p:cNvPr>
            <p:cNvSpPr>
              <a:spLocks noChangeArrowheads="1"/>
            </p:cNvSpPr>
            <p:nvPr/>
          </p:nvSpPr>
          <p:spPr bwMode="auto">
            <a:xfrm>
              <a:off x="283337" y="5045360"/>
              <a:ext cx="2127705"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N" sz="1400" b="1" i="0" u="none" strike="noStrike" kern="0" cap="none" spc="0" normalizeH="0" baseline="0" noProof="0" dirty="0">
                  <a:ln>
                    <a:noFill/>
                  </a:ln>
                  <a:solidFill>
                    <a:prstClr val="white"/>
                  </a:solidFill>
                  <a:effectLst/>
                  <a:uLnTx/>
                  <a:uFillTx/>
                  <a:latin typeface="Ubuntu"/>
                  <a:ea typeface="ＭＳ Ｐゴシック" pitchFamily="34" charset="-128"/>
                  <a:cs typeface="Arial" charset="0"/>
                </a:rPr>
                <a:t>CG - Value proposition </a:t>
              </a:r>
              <a:endParaRPr kumimoji="0" lang="en-US" sz="1400" b="1" i="0" u="none" strike="noStrike" kern="0" cap="none" spc="0" normalizeH="0" baseline="0" noProof="0" dirty="0">
                <a:ln>
                  <a:noFill/>
                </a:ln>
                <a:solidFill>
                  <a:prstClr val="white"/>
                </a:solidFill>
                <a:effectLst/>
                <a:uLnTx/>
                <a:uFillTx/>
                <a:latin typeface="Ubuntu"/>
                <a:ea typeface="ＭＳ Ｐゴシック" pitchFamily="34" charset="-128"/>
                <a:cs typeface="Arial" charset="0"/>
              </a:endParaRPr>
            </a:p>
          </p:txBody>
        </p:sp>
      </p:grpSp>
      <p:sp>
        <p:nvSpPr>
          <p:cNvPr id="70" name="AutoShape 269">
            <a:extLst>
              <a:ext uri="{FF2B5EF4-FFF2-40B4-BE49-F238E27FC236}">
                <a16:creationId xmlns:a16="http://schemas.microsoft.com/office/drawing/2014/main" id="{755149E0-3BEF-AE45-C8BC-0A04B49DA5FC}"/>
              </a:ext>
            </a:extLst>
          </p:cNvPr>
          <p:cNvSpPr>
            <a:spLocks noChangeArrowheads="1"/>
          </p:cNvSpPr>
          <p:nvPr/>
        </p:nvSpPr>
        <p:spPr bwMode="auto">
          <a:xfrm>
            <a:off x="7085341" y="4343485"/>
            <a:ext cx="2194560" cy="487313"/>
          </a:xfrm>
          <a:prstGeom prst="roundRect">
            <a:avLst>
              <a:gd name="adj" fmla="val 0"/>
            </a:avLst>
          </a:prstGeom>
          <a:noFill/>
          <a:ln w="9525" algn="ctr">
            <a:noFill/>
            <a:miter lim="800000"/>
            <a:headEnd/>
            <a:tailEnd/>
          </a:ln>
        </p:spPr>
        <p:txBody>
          <a:bodyPr>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Test result</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Defect report</a:t>
            </a:r>
          </a:p>
        </p:txBody>
      </p:sp>
      <p:grpSp>
        <p:nvGrpSpPr>
          <p:cNvPr id="71" name="Group 70">
            <a:extLst>
              <a:ext uri="{FF2B5EF4-FFF2-40B4-BE49-F238E27FC236}">
                <a16:creationId xmlns:a16="http://schemas.microsoft.com/office/drawing/2014/main" id="{AE980B06-7BEF-BF40-AEB2-353407C51E3D}"/>
              </a:ext>
            </a:extLst>
          </p:cNvPr>
          <p:cNvGrpSpPr/>
          <p:nvPr/>
        </p:nvGrpSpPr>
        <p:grpSpPr>
          <a:xfrm>
            <a:off x="9504597" y="3986674"/>
            <a:ext cx="2194560" cy="2057601"/>
            <a:chOff x="259062" y="4013526"/>
            <a:chExt cx="2194560" cy="2057601"/>
          </a:xfrm>
        </p:grpSpPr>
        <p:sp>
          <p:nvSpPr>
            <p:cNvPr id="72" name="Rectangle 282">
              <a:extLst>
                <a:ext uri="{FF2B5EF4-FFF2-40B4-BE49-F238E27FC236}">
                  <a16:creationId xmlns:a16="http://schemas.microsoft.com/office/drawing/2014/main" id="{8DBB241C-76C4-2DEB-D7E7-33D7E2BF7BDD}"/>
                </a:ext>
              </a:extLst>
            </p:cNvPr>
            <p:cNvSpPr>
              <a:spLocks noChangeArrowheads="1"/>
            </p:cNvSpPr>
            <p:nvPr/>
          </p:nvSpPr>
          <p:spPr bwMode="auto">
            <a:xfrm>
              <a:off x="274131" y="4013526"/>
              <a:ext cx="2127515"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Ubuntu"/>
                  <a:ea typeface="ＭＳ Ｐゴシック" pitchFamily="34" charset="-128"/>
                  <a:cs typeface="Arial" charset="0"/>
                </a:rPr>
                <a:t>Deliverables</a:t>
              </a:r>
            </a:p>
          </p:txBody>
        </p:sp>
        <p:sp>
          <p:nvSpPr>
            <p:cNvPr id="73" name="AutoShape 281">
              <a:extLst>
                <a:ext uri="{FF2B5EF4-FFF2-40B4-BE49-F238E27FC236}">
                  <a16:creationId xmlns:a16="http://schemas.microsoft.com/office/drawing/2014/main" id="{DBC683F0-F42B-C472-7B16-3AC1A2ACD0BB}"/>
                </a:ext>
              </a:extLst>
            </p:cNvPr>
            <p:cNvSpPr>
              <a:spLocks noChangeArrowheads="1"/>
            </p:cNvSpPr>
            <p:nvPr/>
          </p:nvSpPr>
          <p:spPr bwMode="auto">
            <a:xfrm>
              <a:off x="259062" y="4397458"/>
              <a:ext cx="2194560" cy="276999"/>
            </a:xfrm>
            <a:prstGeom prst="roundRect">
              <a:avLst>
                <a:gd name="adj" fmla="val 0"/>
              </a:avLst>
            </a:prstGeom>
            <a:noFill/>
            <a:ln w="9525" algn="ctr">
              <a:noFill/>
              <a:miter lim="800000"/>
              <a:headEnd/>
              <a:tailEnd/>
            </a:ln>
          </p:spPr>
          <p:txBody>
            <a:bodyPr>
              <a:spAutoFit/>
            </a:bodyPr>
            <a:lstStyle/>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endPar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p:txBody>
        </p:sp>
        <p:cxnSp>
          <p:nvCxnSpPr>
            <p:cNvPr id="74" name="Straight Connector 73">
              <a:extLst>
                <a:ext uri="{FF2B5EF4-FFF2-40B4-BE49-F238E27FC236}">
                  <a16:creationId xmlns:a16="http://schemas.microsoft.com/office/drawing/2014/main" id="{7774B887-6ED3-012D-FE8C-04E794587E05}"/>
                </a:ext>
              </a:extLst>
            </p:cNvPr>
            <p:cNvCxnSpPr>
              <a:cxnSpLocks/>
              <a:stCxn id="72" idx="1"/>
            </p:cNvCxnSpPr>
            <p:nvPr/>
          </p:nvCxnSpPr>
          <p:spPr>
            <a:xfrm>
              <a:off x="274131" y="4196406"/>
              <a:ext cx="0" cy="1874721"/>
            </a:xfrm>
            <a:prstGeom prst="line">
              <a:avLst/>
            </a:prstGeom>
            <a:noFill/>
            <a:ln w="12700" cap="flat" cmpd="sng" algn="ctr">
              <a:solidFill>
                <a:srgbClr val="12ABDB"/>
              </a:solidFill>
              <a:prstDash val="dash"/>
              <a:miter lim="800000"/>
            </a:ln>
            <a:effectLst/>
          </p:spPr>
        </p:cxnSp>
        <p:sp>
          <p:nvSpPr>
            <p:cNvPr id="75" name="Rectangle 282">
              <a:extLst>
                <a:ext uri="{FF2B5EF4-FFF2-40B4-BE49-F238E27FC236}">
                  <a16:creationId xmlns:a16="http://schemas.microsoft.com/office/drawing/2014/main" id="{A5EF8F62-1340-CC9C-3025-A3223E38CE22}"/>
                </a:ext>
              </a:extLst>
            </p:cNvPr>
            <p:cNvSpPr>
              <a:spLocks noChangeArrowheads="1"/>
            </p:cNvSpPr>
            <p:nvPr/>
          </p:nvSpPr>
          <p:spPr bwMode="auto">
            <a:xfrm>
              <a:off x="283337" y="5045360"/>
              <a:ext cx="2127705" cy="365760"/>
            </a:xfrm>
            <a:prstGeom prst="rect">
              <a:avLst/>
            </a:prstGeom>
            <a:solidFill>
              <a:srgbClr val="12ABDB"/>
            </a:solidFill>
            <a:ln w="3175" algn="ctr">
              <a:noFill/>
              <a:miter lim="800000"/>
              <a:headEnd type="none" w="lg" len="lg"/>
              <a:tailEnd type="none" w="lg" len="lg"/>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N" sz="1400" b="1" i="0" u="none" strike="noStrike" kern="0" cap="none" spc="0" normalizeH="0" baseline="0" noProof="0" dirty="0">
                  <a:ln>
                    <a:noFill/>
                  </a:ln>
                  <a:solidFill>
                    <a:prstClr val="white"/>
                  </a:solidFill>
                  <a:effectLst/>
                  <a:uLnTx/>
                  <a:uFillTx/>
                  <a:latin typeface="Ubuntu"/>
                  <a:ea typeface="ＭＳ Ｐゴシック" pitchFamily="34" charset="-128"/>
                  <a:cs typeface="Arial" charset="0"/>
                </a:rPr>
                <a:t>CG - Value proposition </a:t>
              </a:r>
              <a:endParaRPr kumimoji="0" lang="en-US" sz="1400" b="1" i="0" u="none" strike="noStrike" kern="0" cap="none" spc="0" normalizeH="0" baseline="0" noProof="0" dirty="0">
                <a:ln>
                  <a:noFill/>
                </a:ln>
                <a:solidFill>
                  <a:prstClr val="white"/>
                </a:solidFill>
                <a:effectLst/>
                <a:uLnTx/>
                <a:uFillTx/>
                <a:latin typeface="Ubuntu"/>
                <a:ea typeface="ＭＳ Ｐゴシック" pitchFamily="34" charset="-128"/>
                <a:cs typeface="Arial" charset="0"/>
              </a:endParaRPr>
            </a:p>
          </p:txBody>
        </p:sp>
      </p:grpSp>
      <p:sp>
        <p:nvSpPr>
          <p:cNvPr id="76" name="AutoShape 263">
            <a:extLst>
              <a:ext uri="{FF2B5EF4-FFF2-40B4-BE49-F238E27FC236}">
                <a16:creationId xmlns:a16="http://schemas.microsoft.com/office/drawing/2014/main" id="{054A3C05-8D24-4B9B-5531-F2481CB1C654}"/>
              </a:ext>
            </a:extLst>
          </p:cNvPr>
          <p:cNvSpPr>
            <a:spLocks noChangeArrowheads="1"/>
          </p:cNvSpPr>
          <p:nvPr/>
        </p:nvSpPr>
        <p:spPr bwMode="auto">
          <a:xfrm>
            <a:off x="9456849" y="5364495"/>
            <a:ext cx="2213011" cy="856645"/>
          </a:xfrm>
          <a:prstGeom prst="roundRect">
            <a:avLst>
              <a:gd name="adj" fmla="val 0"/>
            </a:avLst>
          </a:prstGeom>
          <a:noFill/>
          <a:ln w="9525" algn="ctr">
            <a:noFill/>
            <a:miter lim="800000"/>
            <a:headEnd/>
            <a:tailEnd/>
          </a:ln>
        </p:spPr>
        <p:txBody>
          <a:bodyPr wrap="square">
            <a:spAutoFit/>
          </a:bodyPr>
          <a:lstStyle/>
          <a:p>
            <a:pPr marL="173038" marR="0" lvl="0" indent="-173038" algn="l" defTabSz="914400" rtl="0" eaLnBrk="1" fontAlgn="auto" latinLnBrk="0" hangingPunct="1">
              <a:lnSpc>
                <a:spcPct val="100000"/>
              </a:lnSpc>
              <a:spcBef>
                <a:spcPts val="200"/>
              </a:spcBef>
              <a:spcAft>
                <a:spcPts val="0"/>
              </a:spcAft>
              <a:buClr>
                <a:srgbClr val="12ABDB"/>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rPr>
              <a:t>Customized execution report according to business needs</a:t>
            </a:r>
          </a:p>
          <a:p>
            <a:pPr marL="173038" marR="0" lvl="0" indent="-173038" algn="l" defTabSz="914400" rtl="0" eaLnBrk="1" fontAlgn="base" latinLnBrk="0" hangingPunct="1">
              <a:lnSpc>
                <a:spcPct val="100000"/>
              </a:lnSpc>
              <a:spcBef>
                <a:spcPts val="200"/>
              </a:spcBef>
              <a:spcAft>
                <a:spcPts val="0"/>
              </a:spcAft>
              <a:buClr>
                <a:srgbClr val="12ABDB"/>
              </a:buClr>
              <a:buSzTx/>
              <a:buFont typeface="Wingdings" panose="05000000000000000000" pitchFamily="2" charset="2"/>
              <a:buChar char="§"/>
              <a:tabLst/>
              <a:defRPr/>
            </a:pPr>
            <a:endParaRPr kumimoji="0" lang="en-US" sz="1200" b="0" i="0" u="none" strike="noStrike" kern="1200" cap="none" spc="0" normalizeH="0" baseline="0" noProof="0" dirty="0">
              <a:ln>
                <a:noFill/>
              </a:ln>
              <a:solidFill>
                <a:prstClr val="black"/>
              </a:solidFill>
              <a:effectLst/>
              <a:uLnTx/>
              <a:uFillTx/>
              <a:latin typeface="Ubuntu"/>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17431760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059F012-0512-6E93-D5D2-EB26E70C4EDB}"/>
              </a:ext>
            </a:extLst>
          </p:cNvPr>
          <p:cNvSpPr txBox="1"/>
          <p:nvPr/>
        </p:nvSpPr>
        <p:spPr>
          <a:xfrm>
            <a:off x="256032" y="638627"/>
            <a:ext cx="8430768" cy="5355312"/>
          </a:xfrm>
          <a:prstGeom prst="rect">
            <a:avLst/>
          </a:prstGeom>
          <a:noFill/>
        </p:spPr>
        <p:txBody>
          <a:bodyPr wrap="square">
            <a:spAutoFit/>
          </a:bodyPr>
          <a:lstStyle/>
          <a:p>
            <a:pPr marL="114300" indent="-114300" fontAlgn="base">
              <a:spcBef>
                <a:spcPts val="200"/>
              </a:spcBef>
              <a:spcAft>
                <a:spcPts val="600"/>
              </a:spcAft>
              <a:buClr>
                <a:schemeClr val="tx1"/>
              </a:buClr>
              <a:buFont typeface="Arial" panose="020B0604020202020204" pitchFamily="34" charset="0"/>
              <a:buChar char="•"/>
              <a:defRPr/>
            </a:pPr>
            <a:endParaRPr lang="en-US" sz="1200" kern="0" dirty="0">
              <a:latin typeface="Ubuntu"/>
              <a:ea typeface="ＭＳ Ｐゴシック" pitchFamily="34" charset="-128"/>
              <a:cs typeface="Arial" panose="020B0604020202020204" pitchFamily="34" charset="0"/>
            </a:endParaRPr>
          </a:p>
          <a:p>
            <a:pPr marL="114300" indent="-114300" fontAlgn="base">
              <a:spcBef>
                <a:spcPts val="200"/>
              </a:spcBef>
              <a:spcAft>
                <a:spcPts val="600"/>
              </a:spcAft>
              <a:buClr>
                <a:schemeClr val="tx1"/>
              </a:buClr>
              <a:buFont typeface="Arial" panose="020B0604020202020204" pitchFamily="34" charset="0"/>
              <a:buChar char="•"/>
              <a:defRPr/>
            </a:pPr>
            <a:r>
              <a:rPr lang="en-IN" sz="1200" kern="0" dirty="0">
                <a:latin typeface="Ubuntu"/>
                <a:ea typeface="ＭＳ Ｐゴシック" pitchFamily="34" charset="-128"/>
                <a:cs typeface="Arial" panose="020B0604020202020204" pitchFamily="34" charset="0"/>
              </a:rPr>
              <a:t>Estimates cover below process </a:t>
            </a:r>
          </a:p>
          <a:p>
            <a:pPr marL="628650" lvl="1" indent="-171450">
              <a:spcBef>
                <a:spcPts val="200"/>
              </a:spcBef>
              <a:spcAft>
                <a:spcPts val="200"/>
              </a:spcAft>
              <a:buFont typeface="Arial" panose="020B0604020202020204" pitchFamily="34" charset="0"/>
              <a:buChar char="•"/>
            </a:pPr>
            <a:r>
              <a:rPr lang="en-US" sz="1200" kern="0" dirty="0">
                <a:latin typeface="Ubuntu"/>
                <a:ea typeface="ＭＳ Ｐゴシック" pitchFamily="34" charset="-128"/>
                <a:cs typeface="Arial" panose="020B0604020202020204" pitchFamily="34" charset="0"/>
              </a:rPr>
              <a:t>Tx Parts (CS PO Parts, RFQ, </a:t>
            </a:r>
            <a:r>
              <a:rPr lang="en-US" sz="1200" kern="0" dirty="0" err="1">
                <a:latin typeface="Ubuntu"/>
                <a:ea typeface="ＭＳ Ｐゴシック" pitchFamily="34" charset="-128"/>
                <a:cs typeface="Arial" panose="020B0604020202020204" pitchFamily="34" charset="0"/>
              </a:rPr>
              <a:t>Engg</a:t>
            </a:r>
            <a:r>
              <a:rPr lang="en-US" sz="1200" kern="0" dirty="0">
                <a:latin typeface="Ubuntu"/>
                <a:ea typeface="ＭＳ Ｐゴシック" pitchFamily="34" charset="-128"/>
                <a:cs typeface="Arial" panose="020B0604020202020204" pitchFamily="34" charset="0"/>
              </a:rPr>
              <a:t> flow, Warranty and COQ)</a:t>
            </a:r>
          </a:p>
          <a:p>
            <a:pPr marL="628650" lvl="1" indent="-171450">
              <a:spcBef>
                <a:spcPts val="200"/>
              </a:spcBef>
              <a:spcAft>
                <a:spcPts val="200"/>
              </a:spcAft>
              <a:buFont typeface="Arial" panose="020B0604020202020204" pitchFamily="34" charset="0"/>
              <a:buChar char="•"/>
            </a:pPr>
            <a:r>
              <a:rPr lang="en-US" sz="1200" kern="0" dirty="0">
                <a:latin typeface="Ubuntu"/>
                <a:ea typeface="ＭＳ Ｐゴシック" pitchFamily="34" charset="-128"/>
                <a:cs typeface="Arial" panose="020B0604020202020204" pitchFamily="34" charset="0"/>
              </a:rPr>
              <a:t>Tx Core ( Parts, FieldCore, PMx, External Iproc )</a:t>
            </a:r>
          </a:p>
          <a:p>
            <a:pPr marL="628650" lvl="1" indent="-171450">
              <a:spcBef>
                <a:spcPts val="200"/>
              </a:spcBef>
              <a:spcAft>
                <a:spcPts val="200"/>
              </a:spcAft>
              <a:buFont typeface="Arial" panose="020B0604020202020204" pitchFamily="34" charset="0"/>
              <a:buChar char="•"/>
            </a:pPr>
            <a:r>
              <a:rPr lang="en-US" sz="1200" kern="0" dirty="0">
                <a:latin typeface="Ubuntu"/>
                <a:ea typeface="ＭＳ Ｐゴシック" pitchFamily="34" charset="-128"/>
                <a:cs typeface="Arial" panose="020B0604020202020204" pitchFamily="34" charset="0"/>
              </a:rPr>
              <a:t>CS/MMP ( Parts, FieldCore, Repairs, PMx, External Iproc)</a:t>
            </a:r>
          </a:p>
          <a:p>
            <a:pPr marL="628650" lvl="1" indent="-171450">
              <a:spcBef>
                <a:spcPts val="200"/>
              </a:spcBef>
              <a:spcAft>
                <a:spcPts val="200"/>
              </a:spcAft>
              <a:buFont typeface="Arial" panose="020B0604020202020204" pitchFamily="34" charset="0"/>
              <a:buChar char="•"/>
            </a:pPr>
            <a:r>
              <a:rPr lang="en-US" sz="1200" kern="0" dirty="0">
                <a:latin typeface="Ubuntu"/>
                <a:ea typeface="ＭＳ Ｐゴシック" pitchFamily="34" charset="-128"/>
                <a:cs typeface="Arial" panose="020B0604020202020204" pitchFamily="34" charset="0"/>
              </a:rPr>
              <a:t>Tx CMU (FieldCore, Repairs, PMx ( OSS/Performance), External Iproc) </a:t>
            </a:r>
          </a:p>
          <a:p>
            <a:pPr marL="628650" lvl="1" indent="-171450">
              <a:spcBef>
                <a:spcPts val="200"/>
              </a:spcBef>
              <a:spcAft>
                <a:spcPts val="200"/>
              </a:spcAft>
              <a:buFont typeface="Arial" panose="020B0604020202020204" pitchFamily="34" charset="0"/>
              <a:buChar char="•"/>
            </a:pPr>
            <a:r>
              <a:rPr lang="en-US" sz="1200" kern="0" dirty="0">
                <a:latin typeface="Ubuntu"/>
                <a:ea typeface="ＭＳ Ｐゴシック" pitchFamily="34" charset="-128"/>
                <a:cs typeface="Arial" panose="020B0604020202020204" pitchFamily="34" charset="0"/>
              </a:rPr>
              <a:t>APEX (LTL, IBS, CORA and </a:t>
            </a:r>
            <a:r>
              <a:rPr lang="en-US" sz="1200" kern="0" dirty="0" err="1">
                <a:latin typeface="Ubuntu"/>
                <a:ea typeface="ＭＳ Ｐゴシック" pitchFamily="34" charset="-128"/>
                <a:cs typeface="Arial" panose="020B0604020202020204" pitchFamily="34" charset="0"/>
              </a:rPr>
              <a:t>Sabrix</a:t>
            </a:r>
            <a:r>
              <a:rPr lang="en-US" sz="1200" kern="0" dirty="0">
                <a:latin typeface="Ubuntu"/>
                <a:ea typeface="ＭＳ Ｐゴシック" pitchFamily="34" charset="-128"/>
                <a:cs typeface="Arial" panose="020B0604020202020204" pitchFamily="34" charset="0"/>
              </a:rPr>
              <a:t>)</a:t>
            </a:r>
          </a:p>
          <a:p>
            <a:pPr marL="1143000" lvl="2" indent="-228600">
              <a:spcBef>
                <a:spcPts val="200"/>
              </a:spcBef>
              <a:spcAft>
                <a:spcPts val="200"/>
              </a:spcAft>
              <a:buFont typeface="+mj-lt"/>
              <a:buAutoNum type="alphaLcPeriod"/>
            </a:pPr>
            <a:r>
              <a:rPr lang="en-US" sz="1200" kern="0" dirty="0">
                <a:latin typeface="Ubuntu"/>
                <a:ea typeface="ＭＳ Ｐゴシック" pitchFamily="34" charset="-128"/>
                <a:cs typeface="Arial" panose="020B0604020202020204" pitchFamily="34" charset="0"/>
              </a:rPr>
              <a:t>Parts ( So, </a:t>
            </a:r>
            <a:r>
              <a:rPr lang="en-US" sz="1200" kern="0" dirty="0" err="1">
                <a:latin typeface="Ubuntu"/>
                <a:ea typeface="ＭＳ Ｐゴシック" pitchFamily="34" charset="-128"/>
                <a:cs typeface="Arial" panose="020B0604020202020204" pitchFamily="34" charset="0"/>
              </a:rPr>
              <a:t>WHS</a:t>
            </a:r>
            <a:r>
              <a:rPr lang="en-US" sz="1200" kern="0" dirty="0">
                <a:latin typeface="Ubuntu"/>
                <a:ea typeface="ＭＳ Ｐゴシック" pitchFamily="34" charset="-128"/>
                <a:cs typeface="Arial" panose="020B0604020202020204" pitchFamily="34" charset="0"/>
              </a:rPr>
              <a:t> manual allocation, Delivery, </a:t>
            </a:r>
            <a:r>
              <a:rPr lang="en-US" sz="1200" kern="0" dirty="0" err="1">
                <a:latin typeface="Ubuntu"/>
                <a:ea typeface="ＭＳ Ｐゴシック" pitchFamily="34" charset="-128"/>
                <a:cs typeface="Arial" panose="020B0604020202020204" pitchFamily="34" charset="0"/>
              </a:rPr>
              <a:t>OTM</a:t>
            </a:r>
            <a:r>
              <a:rPr lang="en-US" sz="1200" kern="0" dirty="0">
                <a:latin typeface="Ubuntu"/>
                <a:ea typeface="ＭＳ Ｐゴシック" pitchFamily="34" charset="-128"/>
                <a:cs typeface="Arial" panose="020B0604020202020204" pitchFamily="34" charset="0"/>
              </a:rPr>
              <a:t>, Telnet Pick/Pack, </a:t>
            </a:r>
            <a:r>
              <a:rPr lang="en-US" sz="1200" kern="0" dirty="0" err="1">
                <a:latin typeface="Ubuntu"/>
                <a:ea typeface="ＭＳ Ｐゴシック" pitchFamily="34" charset="-128"/>
                <a:cs typeface="Arial" panose="020B0604020202020204" pitchFamily="34" charset="0"/>
              </a:rPr>
              <a:t>OTM</a:t>
            </a:r>
            <a:r>
              <a:rPr lang="en-US" sz="1200" kern="0" dirty="0">
                <a:latin typeface="Ubuntu"/>
                <a:ea typeface="ＭＳ Ｐゴシック" pitchFamily="34" charset="-128"/>
                <a:cs typeface="Arial" panose="020B0604020202020204" pitchFamily="34" charset="0"/>
              </a:rPr>
              <a:t> Ship/Conf, Export release)</a:t>
            </a:r>
          </a:p>
          <a:p>
            <a:pPr marL="1143000" lvl="2" indent="-228600">
              <a:spcBef>
                <a:spcPts val="200"/>
              </a:spcBef>
              <a:spcAft>
                <a:spcPts val="200"/>
              </a:spcAft>
              <a:buFont typeface="+mj-lt"/>
              <a:buAutoNum type="alphaLcPeriod"/>
            </a:pPr>
            <a:r>
              <a:rPr lang="en-US" sz="1200" kern="0" dirty="0">
                <a:latin typeface="Ubuntu"/>
                <a:ea typeface="ＭＳ Ｐゴシック" pitchFamily="34" charset="-128"/>
                <a:cs typeface="Arial" panose="020B0604020202020204" pitchFamily="34" charset="0"/>
              </a:rPr>
              <a:t>FieldCore (Project, SO, Delivery, </a:t>
            </a:r>
            <a:r>
              <a:rPr lang="en-US" sz="1200" kern="0" dirty="0" err="1">
                <a:latin typeface="Ubuntu"/>
                <a:ea typeface="ＭＳ Ｐゴシック" pitchFamily="34" charset="-128"/>
                <a:cs typeface="Arial" panose="020B0604020202020204" pitchFamily="34" charset="0"/>
              </a:rPr>
              <a:t>RRB</a:t>
            </a:r>
            <a:r>
              <a:rPr lang="en-US" sz="1200" kern="0" dirty="0">
                <a:latin typeface="Ubuntu"/>
                <a:ea typeface="ＭＳ Ｐゴシック" pitchFamily="34" charset="-128"/>
                <a:cs typeface="Arial" panose="020B0604020202020204" pitchFamily="34" charset="0"/>
              </a:rPr>
              <a:t> Delivery, Cost allocation, Invoice, IDOC reprocess)</a:t>
            </a:r>
          </a:p>
          <a:p>
            <a:pPr marL="1143000" lvl="2" indent="-228600">
              <a:spcBef>
                <a:spcPts val="200"/>
              </a:spcBef>
              <a:spcAft>
                <a:spcPts val="200"/>
              </a:spcAft>
              <a:buFont typeface="+mj-lt"/>
              <a:buAutoNum type="alphaLcPeriod"/>
            </a:pPr>
            <a:r>
              <a:rPr lang="en-US" sz="1200" kern="0" dirty="0">
                <a:latin typeface="Ubuntu"/>
                <a:ea typeface="ＭＳ Ｐゴシック" pitchFamily="34" charset="-128"/>
                <a:cs typeface="Arial" panose="020B0604020202020204" pitchFamily="34" charset="0"/>
              </a:rPr>
              <a:t>SAP Repairs(Assign repairs Shop, SO, Inbound &amp; Outbound Delivery, Invoice, Send to IBS)</a:t>
            </a:r>
          </a:p>
          <a:p>
            <a:pPr marL="1143000" lvl="2" indent="-228600">
              <a:spcBef>
                <a:spcPts val="200"/>
              </a:spcBef>
              <a:spcAft>
                <a:spcPts val="200"/>
              </a:spcAft>
              <a:buFont typeface="+mj-lt"/>
              <a:buAutoNum type="alphaLcPeriod"/>
            </a:pPr>
            <a:r>
              <a:rPr lang="en-US" sz="1200" kern="0" dirty="0">
                <a:latin typeface="Ubuntu"/>
                <a:ea typeface="ＭＳ Ｐゴシック" pitchFamily="34" charset="-128"/>
                <a:cs typeface="Arial" panose="020B0604020202020204" pitchFamily="34" charset="0"/>
              </a:rPr>
              <a:t>PMx (SO, delivery, </a:t>
            </a:r>
            <a:r>
              <a:rPr lang="en-US" sz="1200" kern="0" dirty="0" err="1">
                <a:latin typeface="Ubuntu"/>
                <a:ea typeface="ＭＳ Ｐゴシック" pitchFamily="34" charset="-128"/>
                <a:cs typeface="Arial" panose="020B0604020202020204" pitchFamily="34" charset="0"/>
              </a:rPr>
              <a:t>RRB</a:t>
            </a:r>
            <a:r>
              <a:rPr lang="en-US" sz="1200" kern="0" dirty="0">
                <a:latin typeface="Ubuntu"/>
                <a:ea typeface="ＭＳ Ｐゴシック" pitchFamily="34" charset="-128"/>
                <a:cs typeface="Arial" panose="020B0604020202020204" pitchFamily="34" charset="0"/>
              </a:rPr>
              <a:t> delivery, Cost allocation, Invoice, Send to IBS)</a:t>
            </a:r>
          </a:p>
          <a:p>
            <a:pPr marL="1143000" lvl="2" indent="-228600">
              <a:spcBef>
                <a:spcPts val="200"/>
              </a:spcBef>
              <a:spcAft>
                <a:spcPts val="200"/>
              </a:spcAft>
              <a:buFont typeface="+mj-lt"/>
              <a:buAutoNum type="alphaLcPeriod"/>
            </a:pPr>
            <a:r>
              <a:rPr lang="en-US" sz="1200" kern="0" dirty="0">
                <a:latin typeface="Ubuntu"/>
                <a:ea typeface="ＭＳ Ｐゴシック" pitchFamily="34" charset="-128"/>
                <a:cs typeface="Arial" panose="020B0604020202020204" pitchFamily="34" charset="0"/>
              </a:rPr>
              <a:t>Charlie (CS Billing, MMP, PSP and </a:t>
            </a:r>
            <a:r>
              <a:rPr lang="en-US" sz="1200" kern="0" dirty="0" err="1">
                <a:latin typeface="Ubuntu"/>
                <a:ea typeface="ＭＳ Ｐゴシック" pitchFamily="34" charset="-128"/>
                <a:cs typeface="Arial" panose="020B0604020202020204" pitchFamily="34" charset="0"/>
              </a:rPr>
              <a:t>T&amp;M</a:t>
            </a:r>
            <a:r>
              <a:rPr lang="en-US" sz="1200" kern="0" dirty="0">
                <a:latin typeface="Ubuntu"/>
                <a:ea typeface="ＭＳ Ｐゴシック" pitchFamily="34" charset="-128"/>
                <a:cs typeface="Arial" panose="020B0604020202020204" pitchFamily="34" charset="0"/>
              </a:rPr>
              <a:t> PROGRESS)</a:t>
            </a:r>
          </a:p>
          <a:p>
            <a:pPr marL="628650" lvl="1" indent="-171450">
              <a:spcBef>
                <a:spcPts val="200"/>
              </a:spcBef>
              <a:spcAft>
                <a:spcPts val="200"/>
              </a:spcAft>
              <a:buFont typeface="Arial" panose="020B0604020202020204" pitchFamily="34" charset="0"/>
              <a:buChar char="•"/>
            </a:pPr>
            <a:r>
              <a:rPr lang="en-US" sz="1200" kern="0" dirty="0">
                <a:latin typeface="Ubuntu"/>
                <a:ea typeface="ＭＳ Ｐゴシック" pitchFamily="34" charset="-128"/>
                <a:cs typeface="Arial" panose="020B0604020202020204" pitchFamily="34" charset="0"/>
              </a:rPr>
              <a:t>NEX ( Tx CMU Process outage)</a:t>
            </a:r>
          </a:p>
          <a:p>
            <a:pPr marL="628650" lvl="1" indent="-171450">
              <a:spcBef>
                <a:spcPts val="200"/>
              </a:spcBef>
              <a:spcAft>
                <a:spcPts val="200"/>
              </a:spcAft>
              <a:buFont typeface="Arial" panose="020B0604020202020204" pitchFamily="34" charset="0"/>
              <a:buChar char="•"/>
            </a:pPr>
            <a:r>
              <a:rPr lang="en-US" sz="1200" kern="0" dirty="0">
                <a:latin typeface="Ubuntu"/>
                <a:ea typeface="ＭＳ Ｐゴシック" pitchFamily="34" charset="-128"/>
                <a:cs typeface="Arial" panose="020B0604020202020204" pitchFamily="34" charset="0"/>
              </a:rPr>
              <a:t>EV (Tx Core, Tx Parts and CSA/MMP projects, FC PO, OSS PO, Performance PO, SO, PMx &amp; Charlie Projects)</a:t>
            </a:r>
          </a:p>
          <a:p>
            <a:pPr lvl="2">
              <a:spcBef>
                <a:spcPts val="200"/>
              </a:spcBef>
              <a:spcAft>
                <a:spcPts val="200"/>
              </a:spcAft>
            </a:pPr>
            <a:endParaRPr lang="en-IN" sz="1200" kern="0" dirty="0">
              <a:latin typeface="Ubuntu"/>
              <a:ea typeface="ＭＳ Ｐゴシック" pitchFamily="34" charset="-128"/>
              <a:cs typeface="Arial" panose="020B0604020202020204" pitchFamily="34" charset="0"/>
            </a:endParaRPr>
          </a:p>
          <a:p>
            <a:pPr marL="114300" indent="-114300" fontAlgn="base">
              <a:spcBef>
                <a:spcPts val="200"/>
              </a:spcBef>
              <a:spcAft>
                <a:spcPts val="600"/>
              </a:spcAft>
              <a:buClr>
                <a:schemeClr val="tx1"/>
              </a:buClr>
              <a:buFont typeface="Arial" panose="020B0604020202020204" pitchFamily="34" charset="0"/>
              <a:buChar char="•"/>
              <a:defRPr/>
            </a:pPr>
            <a:r>
              <a:rPr lang="en-IN" sz="1200" kern="0" dirty="0">
                <a:latin typeface="Ubuntu"/>
                <a:ea typeface="ＭＳ Ｐゴシック" pitchFamily="34" charset="-128"/>
                <a:cs typeface="Arial" panose="020B0604020202020204" pitchFamily="34" charset="0"/>
              </a:rPr>
              <a:t> Automation team can support SIT/</a:t>
            </a:r>
            <a:r>
              <a:rPr lang="en-IN" sz="1200" kern="0" dirty="0" err="1">
                <a:latin typeface="Ubuntu"/>
                <a:ea typeface="ＭＳ Ｐゴシック" pitchFamily="34" charset="-128"/>
                <a:cs typeface="Arial" panose="020B0604020202020204" pitchFamily="34" charset="0"/>
              </a:rPr>
              <a:t>UAT</a:t>
            </a:r>
            <a:r>
              <a:rPr lang="en-IN" sz="1200" kern="0" dirty="0">
                <a:latin typeface="Ubuntu"/>
                <a:ea typeface="ＭＳ Ｐゴシック" pitchFamily="34" charset="-128"/>
                <a:cs typeface="Arial" panose="020B0604020202020204" pitchFamily="34" charset="0"/>
              </a:rPr>
              <a:t> for an estimate of 10 countries with 2 contracts for each country in SIT/</a:t>
            </a:r>
            <a:r>
              <a:rPr lang="en-IN" sz="1200" kern="0" dirty="0" err="1">
                <a:latin typeface="Ubuntu"/>
                <a:ea typeface="ＭＳ Ｐゴシック" pitchFamily="34" charset="-128"/>
                <a:cs typeface="Arial" panose="020B0604020202020204" pitchFamily="34" charset="0"/>
              </a:rPr>
              <a:t>UAT</a:t>
            </a:r>
            <a:r>
              <a:rPr lang="en-IN" sz="1200" kern="0" dirty="0">
                <a:latin typeface="Ubuntu"/>
                <a:ea typeface="ＭＳ Ｐゴシック" pitchFamily="34" charset="-128"/>
                <a:cs typeface="Arial" panose="020B0604020202020204" pitchFamily="34" charset="0"/>
              </a:rPr>
              <a:t>.</a:t>
            </a:r>
          </a:p>
          <a:p>
            <a:pPr marL="114300" indent="-114300" fontAlgn="base">
              <a:spcBef>
                <a:spcPts val="200"/>
              </a:spcBef>
              <a:spcAft>
                <a:spcPts val="600"/>
              </a:spcAft>
              <a:buClr>
                <a:schemeClr val="tx1"/>
              </a:buClr>
              <a:buFont typeface="Arial" panose="020B0604020202020204" pitchFamily="34" charset="0"/>
              <a:buChar char="•"/>
              <a:defRPr/>
            </a:pPr>
            <a:r>
              <a:rPr lang="en-IN" sz="1200" kern="0" dirty="0">
                <a:latin typeface="Ubuntu"/>
                <a:ea typeface="ＭＳ Ｐゴシック" pitchFamily="34" charset="-128"/>
                <a:cs typeface="Arial" panose="020B0604020202020204" pitchFamily="34" charset="0"/>
              </a:rPr>
              <a:t>Third party application testing done as per business flow(E2E).</a:t>
            </a:r>
          </a:p>
          <a:p>
            <a:pPr marL="114300" indent="-114300" fontAlgn="base">
              <a:spcBef>
                <a:spcPts val="200"/>
              </a:spcBef>
              <a:spcAft>
                <a:spcPts val="600"/>
              </a:spcAft>
              <a:buClr>
                <a:schemeClr val="tx1"/>
              </a:buClr>
              <a:buFont typeface="Arial" panose="020B0604020202020204" pitchFamily="34" charset="0"/>
              <a:buChar char="•"/>
              <a:defRPr/>
            </a:pPr>
            <a:endParaRPr lang="en-IN" sz="1200" kern="0" dirty="0">
              <a:latin typeface="Ubuntu"/>
              <a:ea typeface="ＭＳ Ｐゴシック" pitchFamily="34" charset="-128"/>
              <a:cs typeface="Arial" panose="020B0604020202020204" pitchFamily="34" charset="0"/>
            </a:endParaRPr>
          </a:p>
          <a:p>
            <a:pPr marL="114300" indent="-114300" fontAlgn="base">
              <a:spcBef>
                <a:spcPts val="200"/>
              </a:spcBef>
              <a:spcAft>
                <a:spcPts val="600"/>
              </a:spcAft>
              <a:buClr>
                <a:schemeClr val="tx1"/>
              </a:buClr>
              <a:buFont typeface="Arial" panose="020B0604020202020204" pitchFamily="34" charset="0"/>
              <a:buChar char="•"/>
              <a:defRPr/>
            </a:pPr>
            <a:r>
              <a:rPr lang="en-IN" sz="1200" kern="0" dirty="0">
                <a:latin typeface="Ubuntu"/>
                <a:ea typeface="ＭＳ Ｐゴシック" pitchFamily="34" charset="-128"/>
                <a:cs typeface="Arial" panose="020B0604020202020204" pitchFamily="34" charset="0"/>
              </a:rPr>
              <a:t>Scenarios identification-based User stories done by Business.</a:t>
            </a:r>
            <a:endParaRPr lang="en-US" sz="1200" kern="0" dirty="0">
              <a:latin typeface="Ubuntu"/>
              <a:ea typeface="ＭＳ Ｐゴシック" pitchFamily="34" charset="-128"/>
              <a:cs typeface="Arial" panose="020B0604020202020204" pitchFamily="34" charset="0"/>
            </a:endParaRPr>
          </a:p>
          <a:p>
            <a:pPr marL="114300" indent="-114300" fontAlgn="base">
              <a:spcBef>
                <a:spcPts val="200"/>
              </a:spcBef>
              <a:spcAft>
                <a:spcPts val="600"/>
              </a:spcAft>
              <a:buClr>
                <a:schemeClr val="tx1"/>
              </a:buClr>
              <a:buFont typeface="Arial" panose="020B0604020202020204" pitchFamily="34" charset="0"/>
              <a:buChar char="•"/>
              <a:defRPr/>
            </a:pPr>
            <a:r>
              <a:rPr lang="en-IN" sz="1200" kern="0" dirty="0">
                <a:latin typeface="Ubuntu"/>
                <a:ea typeface="ＭＳ Ｐゴシック" pitchFamily="34" charset="-128"/>
                <a:cs typeface="Arial" panose="020B0604020202020204" pitchFamily="34" charset="0"/>
              </a:rPr>
              <a:t>Modular/ Functional testing done by Business.</a:t>
            </a:r>
            <a:endParaRPr lang="en-US" sz="1200" kern="0" dirty="0">
              <a:latin typeface="Ubuntu"/>
              <a:ea typeface="ＭＳ Ｐゴシック" pitchFamily="34" charset="-128"/>
              <a:cs typeface="Arial" panose="020B0604020202020204" pitchFamily="34" charset="0"/>
            </a:endParaRPr>
          </a:p>
          <a:p>
            <a:pPr marL="114300" lvl="0" indent="-114300" fontAlgn="base">
              <a:spcBef>
                <a:spcPts val="200"/>
              </a:spcBef>
              <a:spcAft>
                <a:spcPts val="600"/>
              </a:spcAft>
              <a:buClr>
                <a:schemeClr val="tx1"/>
              </a:buClr>
              <a:buFont typeface="Arial" panose="020B0604020202020204" pitchFamily="34" charset="0"/>
              <a:buChar char="•"/>
              <a:defRPr/>
            </a:pPr>
            <a:r>
              <a:rPr lang="en-IN" sz="1200" kern="0" dirty="0">
                <a:latin typeface="Ubuntu"/>
                <a:ea typeface="ＭＳ Ｐゴシック" pitchFamily="34" charset="-128"/>
                <a:cs typeface="Arial" panose="020B0604020202020204" pitchFamily="34" charset="0"/>
              </a:rPr>
              <a:t>Finance validation, Cost validation done by Business.</a:t>
            </a:r>
            <a:endParaRPr lang="en-US" sz="1200" kern="0" dirty="0">
              <a:latin typeface="Ubuntu"/>
              <a:ea typeface="ＭＳ Ｐゴシック" pitchFamily="34" charset="-128"/>
              <a:cs typeface="Arial" panose="020B0604020202020204" pitchFamily="34" charset="0"/>
            </a:endParaRPr>
          </a:p>
        </p:txBody>
      </p:sp>
      <p:sp>
        <p:nvSpPr>
          <p:cNvPr id="5" name="Title 1">
            <a:extLst>
              <a:ext uri="{FF2B5EF4-FFF2-40B4-BE49-F238E27FC236}">
                <a16:creationId xmlns:a16="http://schemas.microsoft.com/office/drawing/2014/main" id="{718991BC-DF08-5F27-CE14-AE855C3A6009}"/>
              </a:ext>
            </a:extLst>
          </p:cNvPr>
          <p:cNvSpPr txBox="1">
            <a:spLocks/>
          </p:cNvSpPr>
          <p:nvPr/>
        </p:nvSpPr>
        <p:spPr>
          <a:xfrm>
            <a:off x="364936" y="250829"/>
            <a:ext cx="11009685" cy="387798"/>
          </a:xfrm>
          <a:prstGeom prst="rect">
            <a:avLst/>
          </a:prstGeom>
        </p:spPr>
        <p:txBody>
          <a:bodyPr vert="horz" lIns="0" tIns="0" rIns="0" bIns="0" rtlCol="0" anchor="ctr"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1" i="0" u="none" strike="noStrike" kern="1200" cap="none" spc="0" normalizeH="0" baseline="0" noProof="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IN" sz="2800" cap="all" dirty="0">
                <a:solidFill>
                  <a:srgbClr val="0070AD"/>
                </a:solidFill>
                <a:latin typeface="Ubuntu"/>
              </a:rPr>
              <a:t>Assumptions - Alpha</a:t>
            </a:r>
          </a:p>
        </p:txBody>
      </p:sp>
    </p:spTree>
    <p:extLst>
      <p:ext uri="{BB962C8B-B14F-4D97-AF65-F5344CB8AC3E}">
        <p14:creationId xmlns:p14="http://schemas.microsoft.com/office/powerpoint/2010/main" val="38002929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059F012-0512-6E93-D5D2-EB26E70C4EDB}"/>
              </a:ext>
            </a:extLst>
          </p:cNvPr>
          <p:cNvSpPr txBox="1"/>
          <p:nvPr/>
        </p:nvSpPr>
        <p:spPr>
          <a:xfrm>
            <a:off x="383133" y="638627"/>
            <a:ext cx="7523226" cy="5057795"/>
          </a:xfrm>
          <a:prstGeom prst="rect">
            <a:avLst/>
          </a:prstGeom>
          <a:noFill/>
        </p:spPr>
        <p:txBody>
          <a:bodyPr wrap="square">
            <a:spAutoFit/>
          </a:bodyPr>
          <a:lstStyle/>
          <a:p>
            <a:pPr marL="114300" indent="-114300" fontAlgn="base">
              <a:spcBef>
                <a:spcPts val="200"/>
              </a:spcBef>
              <a:spcAft>
                <a:spcPts val="600"/>
              </a:spcAft>
              <a:buClr>
                <a:schemeClr val="tx1"/>
              </a:buClr>
              <a:buFont typeface="Arial" panose="020B0604020202020204" pitchFamily="34" charset="0"/>
              <a:buChar char="•"/>
              <a:defRPr/>
            </a:pPr>
            <a:endParaRPr lang="en-US" sz="1200" kern="0" dirty="0">
              <a:latin typeface="Ubuntu"/>
              <a:ea typeface="ＭＳ Ｐゴシック" pitchFamily="34" charset="-128"/>
              <a:cs typeface="Arial" panose="020B0604020202020204" pitchFamily="34" charset="0"/>
            </a:endParaRPr>
          </a:p>
          <a:p>
            <a:pPr marL="114300" indent="-114300" fontAlgn="base">
              <a:spcBef>
                <a:spcPts val="200"/>
              </a:spcBef>
              <a:spcAft>
                <a:spcPts val="600"/>
              </a:spcAft>
              <a:buClr>
                <a:schemeClr val="tx1"/>
              </a:buClr>
              <a:buFont typeface="Arial" panose="020B0604020202020204" pitchFamily="34" charset="0"/>
              <a:buChar char="•"/>
              <a:defRPr/>
            </a:pPr>
            <a:r>
              <a:rPr lang="en-IN" sz="1200" kern="0" dirty="0">
                <a:latin typeface="Ubuntu"/>
                <a:ea typeface="ＭＳ Ｐゴシック" pitchFamily="34" charset="-128"/>
                <a:cs typeface="Arial" panose="020B0604020202020204" pitchFamily="34" charset="0"/>
              </a:rPr>
              <a:t>Estimate coverage  of below processes</a:t>
            </a:r>
          </a:p>
          <a:p>
            <a:pPr marL="742950" lvl="1" indent="-285750">
              <a:buFont typeface="Courier New" panose="02070309020205020404" pitchFamily="49" charset="0"/>
              <a:buChar char="o"/>
            </a:pPr>
            <a:r>
              <a:rPr lang="en-US" sz="1200" dirty="0"/>
              <a:t>EV (EG0, IFF, Digital, Warranty projects, FC PO, Digital PO, SO)</a:t>
            </a:r>
          </a:p>
          <a:p>
            <a:pPr marL="742950" lvl="1" indent="-285750">
              <a:buFont typeface="Courier New" panose="02070309020205020404" pitchFamily="49" charset="0"/>
              <a:buChar char="o"/>
            </a:pPr>
            <a:r>
              <a:rPr lang="en-US" sz="1200" dirty="0"/>
              <a:t>FieldCore (Project, Cost allocation, Invoice, IDOC reprocessing)</a:t>
            </a:r>
          </a:p>
          <a:p>
            <a:pPr marL="742950" lvl="1" indent="-285750">
              <a:buFont typeface="Courier New" panose="02070309020205020404" pitchFamily="49" charset="0"/>
              <a:buChar char="o"/>
            </a:pPr>
            <a:r>
              <a:rPr lang="en-US" sz="1200" dirty="0"/>
              <a:t>Parts Alpha(Project ,PO , Alpha SO, Telnet Pick pack, Invoice, IBS)</a:t>
            </a:r>
          </a:p>
          <a:p>
            <a:pPr marL="742950" lvl="1" indent="-285750">
              <a:buFont typeface="Courier New" panose="02070309020205020404" pitchFamily="49" charset="0"/>
              <a:buChar char="o"/>
            </a:pPr>
            <a:r>
              <a:rPr lang="en-US" sz="1200" dirty="0"/>
              <a:t>Warranty(GTM to PPCH, GTM to P9S8, FC to PPCH and FC to P9S8)</a:t>
            </a:r>
          </a:p>
          <a:p>
            <a:pPr marL="742950" lvl="1" indent="-285750">
              <a:buFont typeface="Courier New" panose="02070309020205020404" pitchFamily="49" charset="0"/>
              <a:buChar char="o"/>
            </a:pPr>
            <a:r>
              <a:rPr lang="en-US" sz="1200" dirty="0"/>
              <a:t>Timecards(Cross company and Inter company time booking)</a:t>
            </a:r>
          </a:p>
          <a:p>
            <a:pPr marL="742950" lvl="1" indent="-285750">
              <a:buFont typeface="Courier New" panose="02070309020205020404" pitchFamily="49" charset="0"/>
              <a:buChar char="o"/>
            </a:pPr>
            <a:r>
              <a:rPr lang="en-US" sz="1200" dirty="0"/>
              <a:t>External Billing(External PO, GR,IR , Apex payment document)</a:t>
            </a:r>
          </a:p>
          <a:p>
            <a:pPr marL="742950" lvl="1" indent="-285750">
              <a:buFont typeface="Courier New" panose="02070309020205020404" pitchFamily="49" charset="0"/>
              <a:buChar char="o"/>
            </a:pPr>
            <a:r>
              <a:rPr lang="en-US" sz="1200" dirty="0"/>
              <a:t>SAP Repairs(Internal PO, SO, Repairs Fulfilment, Invoice, IBS)</a:t>
            </a:r>
          </a:p>
          <a:p>
            <a:pPr marL="742950" lvl="1" indent="-285750">
              <a:buFont typeface="Courier New" panose="02070309020205020404" pitchFamily="49" charset="0"/>
              <a:buChar char="o"/>
            </a:pPr>
            <a:r>
              <a:rPr lang="en-US" sz="1200" dirty="0"/>
              <a:t>Repairs Smart Package (GTM SO, Repairs SO, Invoice, IDOC reprocessing)</a:t>
            </a:r>
          </a:p>
          <a:p>
            <a:pPr marL="742950" lvl="1" indent="-285750">
              <a:buFont typeface="Courier New" panose="02070309020205020404" pitchFamily="49" charset="0"/>
              <a:buChar char="o"/>
            </a:pPr>
            <a:r>
              <a:rPr lang="en-US" sz="1200" dirty="0"/>
              <a:t>Release Strategy(PR, PO, Verify PR and PO release code)</a:t>
            </a:r>
          </a:p>
          <a:p>
            <a:pPr marL="742950" lvl="1" indent="-285750">
              <a:buFont typeface="Courier New" panose="02070309020205020404" pitchFamily="49" charset="0"/>
              <a:buChar char="o"/>
            </a:pPr>
            <a:r>
              <a:rPr lang="en-US" sz="1200" dirty="0"/>
              <a:t>Parts CCSO( Contract, Cross Company SO, Invoice)</a:t>
            </a:r>
          </a:p>
          <a:p>
            <a:pPr marL="742950" lvl="1" indent="-285750">
              <a:buFont typeface="Courier New" panose="02070309020205020404" pitchFamily="49" charset="0"/>
              <a:buChar char="o"/>
            </a:pPr>
            <a:r>
              <a:rPr lang="en-US" sz="1200" dirty="0"/>
              <a:t>NO ESN, MJE, RRB, ICRRB, Period Closing</a:t>
            </a:r>
          </a:p>
          <a:p>
            <a:pPr marL="742950" lvl="1" indent="-285750">
              <a:buFont typeface="Courier New" panose="02070309020205020404" pitchFamily="49" charset="0"/>
              <a:buChar char="o"/>
            </a:pPr>
            <a:r>
              <a:rPr lang="en-US" sz="1200" dirty="0"/>
              <a:t>APEX (LTL,TRAX C2C and FX, AP Reports ,AP Scripts)</a:t>
            </a:r>
          </a:p>
          <a:p>
            <a:pPr marL="742950" lvl="1" indent="-285750">
              <a:buFont typeface="Courier New" panose="02070309020205020404" pitchFamily="49" charset="0"/>
              <a:buChar char="o"/>
            </a:pPr>
            <a:r>
              <a:rPr lang="en-US" sz="1200" dirty="0"/>
              <a:t>Concur(Project allocation, Accrual, SAE)</a:t>
            </a:r>
          </a:p>
          <a:p>
            <a:pPr marL="742950" lvl="1" indent="-285750">
              <a:buFont typeface="Courier New" panose="02070309020205020404" pitchFamily="49" charset="0"/>
              <a:buChar char="o"/>
            </a:pPr>
            <a:r>
              <a:rPr lang="en-US" sz="1200" dirty="0"/>
              <a:t>IBS (All internal billing processes)	</a:t>
            </a:r>
          </a:p>
          <a:p>
            <a:pPr marL="742950" lvl="1" indent="-285750">
              <a:buFont typeface="Courier New" panose="02070309020205020404" pitchFamily="49" charset="0"/>
              <a:buChar char="o"/>
            </a:pPr>
            <a:endParaRPr lang="en-US" sz="1200" dirty="0"/>
          </a:p>
          <a:p>
            <a:pPr marL="114300" indent="-114300" fontAlgn="base">
              <a:spcBef>
                <a:spcPts val="200"/>
              </a:spcBef>
              <a:spcAft>
                <a:spcPts val="600"/>
              </a:spcAft>
              <a:buClr>
                <a:schemeClr val="tx1"/>
              </a:buClr>
              <a:buFont typeface="Arial" panose="020B0604020202020204" pitchFamily="34" charset="0"/>
              <a:buChar char="•"/>
              <a:defRPr/>
            </a:pPr>
            <a:r>
              <a:rPr lang="en-IN" sz="1200" kern="0" dirty="0">
                <a:latin typeface="Ubuntu"/>
                <a:ea typeface="ＭＳ Ｐゴシック" pitchFamily="34" charset="-128"/>
                <a:cs typeface="Arial" panose="020B0604020202020204" pitchFamily="34" charset="0"/>
              </a:rPr>
              <a:t>Automation testing team can support SIT/UAT for an estimate of 18 Company Codes per release.</a:t>
            </a:r>
          </a:p>
          <a:p>
            <a:pPr marL="114300" indent="-114300" fontAlgn="base">
              <a:spcBef>
                <a:spcPts val="200"/>
              </a:spcBef>
              <a:spcAft>
                <a:spcPts val="600"/>
              </a:spcAft>
              <a:buClr>
                <a:schemeClr val="tx1"/>
              </a:buClr>
              <a:buFont typeface="Arial" panose="020B0604020202020204" pitchFamily="34" charset="0"/>
              <a:buChar char="•"/>
              <a:defRPr/>
            </a:pPr>
            <a:r>
              <a:rPr lang="en-IN" sz="1200" kern="0" dirty="0">
                <a:latin typeface="Ubuntu"/>
                <a:ea typeface="ＭＳ Ｐゴシック" pitchFamily="34" charset="-128"/>
                <a:cs typeface="Arial" panose="020B0604020202020204" pitchFamily="34" charset="0"/>
              </a:rPr>
              <a:t>Automation support is provided for SIT1, SIT2 and UAT testing.</a:t>
            </a:r>
          </a:p>
          <a:p>
            <a:pPr marL="114300" indent="-114300" fontAlgn="base">
              <a:spcBef>
                <a:spcPts val="200"/>
              </a:spcBef>
              <a:spcAft>
                <a:spcPts val="600"/>
              </a:spcAft>
              <a:buClr>
                <a:schemeClr val="tx1"/>
              </a:buClr>
              <a:buFont typeface="Arial" panose="020B0604020202020204" pitchFamily="34" charset="0"/>
              <a:buChar char="•"/>
              <a:defRPr/>
            </a:pPr>
            <a:r>
              <a:rPr lang="en-IN" sz="1200" kern="0" dirty="0">
                <a:latin typeface="Ubuntu"/>
                <a:ea typeface="ＭＳ Ｐゴシック" pitchFamily="34" charset="-128"/>
                <a:cs typeface="Arial" panose="020B0604020202020204" pitchFamily="34" charset="0"/>
              </a:rPr>
              <a:t>Integrated application testing limited to EV, Alpha, Fiori, SAP Repairs,  APEX, Concur, IBS.</a:t>
            </a:r>
            <a:endParaRPr lang="en-US" sz="1200" kern="0" dirty="0">
              <a:latin typeface="Ubuntu"/>
              <a:ea typeface="ＭＳ Ｐゴシック" pitchFamily="34" charset="-128"/>
              <a:cs typeface="Arial" panose="020B0604020202020204" pitchFamily="34" charset="0"/>
            </a:endParaRPr>
          </a:p>
          <a:p>
            <a:pPr marL="114300" indent="-114300" fontAlgn="base">
              <a:spcBef>
                <a:spcPts val="200"/>
              </a:spcBef>
              <a:spcAft>
                <a:spcPts val="600"/>
              </a:spcAft>
              <a:buClr>
                <a:schemeClr val="tx1"/>
              </a:buClr>
              <a:buFont typeface="Arial" panose="020B0604020202020204" pitchFamily="34" charset="0"/>
              <a:buChar char="•"/>
              <a:defRPr/>
            </a:pPr>
            <a:r>
              <a:rPr lang="en-IN" sz="1200" kern="0" dirty="0">
                <a:latin typeface="Ubuntu"/>
                <a:ea typeface="ＭＳ Ｐゴシック" pitchFamily="34" charset="-128"/>
                <a:cs typeface="Arial" panose="020B0604020202020204" pitchFamily="34" charset="0"/>
              </a:rPr>
              <a:t>SIT/UAT finalization done by Business Owners.</a:t>
            </a:r>
          </a:p>
          <a:p>
            <a:pPr marL="114300" indent="-114300" fontAlgn="base">
              <a:spcBef>
                <a:spcPts val="200"/>
              </a:spcBef>
              <a:spcAft>
                <a:spcPts val="600"/>
              </a:spcAft>
              <a:buClr>
                <a:schemeClr val="tx1"/>
              </a:buClr>
              <a:buFont typeface="Arial" panose="020B0604020202020204" pitchFamily="34" charset="0"/>
              <a:buChar char="•"/>
              <a:defRPr/>
            </a:pPr>
            <a:r>
              <a:rPr lang="en-IN" sz="1200" kern="0" dirty="0">
                <a:latin typeface="Ubuntu"/>
                <a:ea typeface="ＭＳ Ｐゴシック" pitchFamily="34" charset="-128"/>
                <a:cs typeface="Arial" panose="020B0604020202020204" pitchFamily="34" charset="0"/>
              </a:rPr>
              <a:t>Scenarios identification-based User stories done by Business.</a:t>
            </a:r>
            <a:endParaRPr lang="en-US" sz="1200" kern="0" dirty="0">
              <a:latin typeface="Ubuntu"/>
              <a:ea typeface="ＭＳ Ｐゴシック" pitchFamily="34" charset="-128"/>
              <a:cs typeface="Arial" panose="020B0604020202020204" pitchFamily="34" charset="0"/>
            </a:endParaRPr>
          </a:p>
          <a:p>
            <a:pPr marL="114300" lvl="0" indent="-114300" fontAlgn="base">
              <a:spcBef>
                <a:spcPts val="200"/>
              </a:spcBef>
              <a:spcAft>
                <a:spcPts val="600"/>
              </a:spcAft>
              <a:buClr>
                <a:schemeClr val="tx1"/>
              </a:buClr>
              <a:buFont typeface="Arial" panose="020B0604020202020204" pitchFamily="34" charset="0"/>
              <a:buChar char="•"/>
              <a:defRPr/>
            </a:pPr>
            <a:r>
              <a:rPr lang="en-IN" sz="1200" kern="0" dirty="0">
                <a:latin typeface="Ubuntu"/>
                <a:ea typeface="ＭＳ Ｐゴシック" pitchFamily="34" charset="-128"/>
                <a:cs typeface="Arial" panose="020B0604020202020204" pitchFamily="34" charset="0"/>
              </a:rPr>
              <a:t>Charlie ERP testing, Finance validation, Cost validation done by Business.</a:t>
            </a:r>
            <a:endParaRPr lang="en-US" sz="1200" kern="0" dirty="0">
              <a:latin typeface="Ubuntu"/>
              <a:ea typeface="ＭＳ Ｐゴシック" pitchFamily="34" charset="-128"/>
              <a:cs typeface="Arial" panose="020B0604020202020204" pitchFamily="34" charset="0"/>
            </a:endParaRPr>
          </a:p>
        </p:txBody>
      </p:sp>
      <p:sp>
        <p:nvSpPr>
          <p:cNvPr id="5" name="Title 1">
            <a:extLst>
              <a:ext uri="{FF2B5EF4-FFF2-40B4-BE49-F238E27FC236}">
                <a16:creationId xmlns:a16="http://schemas.microsoft.com/office/drawing/2014/main" id="{718991BC-DF08-5F27-CE14-AE855C3A6009}"/>
              </a:ext>
            </a:extLst>
          </p:cNvPr>
          <p:cNvSpPr txBox="1">
            <a:spLocks/>
          </p:cNvSpPr>
          <p:nvPr/>
        </p:nvSpPr>
        <p:spPr>
          <a:xfrm>
            <a:off x="364936" y="250829"/>
            <a:ext cx="11009685" cy="387798"/>
          </a:xfrm>
          <a:prstGeom prst="rect">
            <a:avLst/>
          </a:prstGeom>
        </p:spPr>
        <p:txBody>
          <a:bodyPr vert="horz" lIns="0" tIns="0" rIns="0" bIns="0" rtlCol="0" anchor="ctr"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1" i="0" u="none" strike="noStrike" kern="1200" cap="none" spc="0" normalizeH="0" baseline="0" noProof="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IN" sz="2800" cap="all" dirty="0">
                <a:solidFill>
                  <a:srgbClr val="0070AD"/>
                </a:solidFill>
                <a:latin typeface="Ubuntu"/>
              </a:rPr>
              <a:t>Assumptions - Charlie</a:t>
            </a:r>
          </a:p>
        </p:txBody>
      </p:sp>
      <p:grpSp>
        <p:nvGrpSpPr>
          <p:cNvPr id="2" name="Group 1">
            <a:extLst>
              <a:ext uri="{FF2B5EF4-FFF2-40B4-BE49-F238E27FC236}">
                <a16:creationId xmlns:a16="http://schemas.microsoft.com/office/drawing/2014/main" id="{052663DA-540C-350C-2386-4610D5251793}"/>
              </a:ext>
            </a:extLst>
          </p:cNvPr>
          <p:cNvGrpSpPr/>
          <p:nvPr/>
        </p:nvGrpSpPr>
        <p:grpSpPr>
          <a:xfrm>
            <a:off x="7528494" y="776182"/>
            <a:ext cx="4223993" cy="3907849"/>
            <a:chOff x="7746884" y="2934108"/>
            <a:chExt cx="4189840" cy="2267482"/>
          </a:xfrm>
        </p:grpSpPr>
        <p:sp>
          <p:nvSpPr>
            <p:cNvPr id="3" name="Rectangle: Rounded Corners 2">
              <a:extLst>
                <a:ext uri="{FF2B5EF4-FFF2-40B4-BE49-F238E27FC236}">
                  <a16:creationId xmlns:a16="http://schemas.microsoft.com/office/drawing/2014/main" id="{92184793-2B49-1776-9819-475B8002B044}"/>
                </a:ext>
              </a:extLst>
            </p:cNvPr>
            <p:cNvSpPr/>
            <p:nvPr/>
          </p:nvSpPr>
          <p:spPr>
            <a:xfrm>
              <a:off x="7746884" y="2934108"/>
              <a:ext cx="4189840" cy="2267482"/>
            </a:xfrm>
            <a:prstGeom prst="round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BC651D8B-B97B-7031-78C2-18E0D659A71D}"/>
                </a:ext>
              </a:extLst>
            </p:cNvPr>
            <p:cNvSpPr txBox="1"/>
            <p:nvPr/>
          </p:nvSpPr>
          <p:spPr>
            <a:xfrm>
              <a:off x="7854132" y="3132940"/>
              <a:ext cx="3982548" cy="1908873"/>
            </a:xfrm>
            <a:prstGeom prst="rect">
              <a:avLst/>
            </a:prstGeom>
            <a:noFill/>
          </p:spPr>
          <p:txBody>
            <a:bodyPr wrap="square" lIns="0" tIns="0" rIns="0" bIns="0" rtlCol="0">
              <a:spAutoFit/>
            </a:bodyPr>
            <a:lstStyle/>
            <a:p>
              <a:pPr marL="171450" indent="-171450" algn="l">
                <a:lnSpc>
                  <a:spcPct val="150000"/>
                </a:lnSpc>
                <a:buFont typeface="Arial" panose="020B0604020202020204" pitchFamily="34" charset="0"/>
                <a:buChar char="•"/>
              </a:pPr>
              <a:r>
                <a:rPr lang="en-IN" sz="1200" b="1" dirty="0">
                  <a:latin typeface="Calibri" panose="020F0502020204030204" pitchFamily="34" charset="0"/>
                  <a:ea typeface="Calibri" panose="020F0502020204030204" pitchFamily="34" charset="0"/>
                  <a:cs typeface="Calibri" panose="020F0502020204030204" pitchFamily="34" charset="0"/>
                </a:rPr>
                <a:t>Tx, CSA– </a:t>
              </a:r>
              <a:r>
                <a:rPr lang="en-IN" sz="1200" dirty="0">
                  <a:latin typeface="Calibri" panose="020F0502020204030204" pitchFamily="34" charset="0"/>
                  <a:ea typeface="Calibri" panose="020F0502020204030204" pitchFamily="34" charset="0"/>
                  <a:cs typeface="Calibri" panose="020F0502020204030204" pitchFamily="34" charset="0"/>
                </a:rPr>
                <a:t>100% of the E2E process is automated and executed is being done through Automation.</a:t>
              </a:r>
            </a:p>
            <a:p>
              <a:pPr marL="171450" indent="-171450">
                <a:lnSpc>
                  <a:spcPct val="150000"/>
                </a:lnSpc>
                <a:buFont typeface="Arial" panose="020B0604020202020204" pitchFamily="34" charset="0"/>
                <a:buChar char="•"/>
              </a:pPr>
              <a:r>
                <a:rPr lang="en-IN" sz="1200" b="1" dirty="0">
                  <a:latin typeface="Calibri" panose="020F0502020204030204" pitchFamily="34" charset="0"/>
                  <a:ea typeface="Calibri" panose="020F0502020204030204" pitchFamily="34" charset="0"/>
                  <a:cs typeface="Calibri" panose="020F0502020204030204" pitchFamily="34" charset="0"/>
                </a:rPr>
                <a:t>Modular– </a:t>
              </a:r>
              <a:r>
                <a:rPr lang="en-US" sz="1200" dirty="0">
                  <a:latin typeface="Calibri" panose="020F0502020204030204" pitchFamily="34" charset="0"/>
                  <a:ea typeface="Calibri" panose="020F0502020204030204" pitchFamily="34" charset="0"/>
                  <a:cs typeface="Calibri" panose="020F0502020204030204" pitchFamily="34" charset="0"/>
                </a:rPr>
                <a:t>Warranty, Parts Alpha, Repairs Smart Package, Parts CCSO, Release Strategy</a:t>
              </a:r>
            </a:p>
            <a:p>
              <a:pPr marL="171450" indent="-171450">
                <a:lnSpc>
                  <a:spcPct val="150000"/>
                </a:lnSpc>
                <a:buFont typeface="Arial" panose="020B0604020202020204" pitchFamily="34" charset="0"/>
                <a:buChar char="•"/>
              </a:pPr>
              <a:r>
                <a:rPr lang="en-IN" sz="1200" b="1" dirty="0">
                  <a:latin typeface="Calibri" panose="020F0502020204030204" pitchFamily="34" charset="0"/>
                  <a:ea typeface="Calibri" panose="020F0502020204030204" pitchFamily="34" charset="0"/>
                  <a:cs typeface="Calibri" panose="020F0502020204030204" pitchFamily="34" charset="0"/>
                </a:rPr>
                <a:t>Applications– </a:t>
              </a:r>
              <a:r>
                <a:rPr lang="en-IN" sz="1200" dirty="0">
                  <a:latin typeface="Calibri" panose="020F0502020204030204" pitchFamily="34" charset="0"/>
                  <a:ea typeface="Calibri" panose="020F0502020204030204" pitchFamily="34" charset="0"/>
                  <a:cs typeface="Calibri" panose="020F0502020204030204" pitchFamily="34" charset="0"/>
                </a:rPr>
                <a:t>EV, PMx, Alpha, Fiori, SAP Repairs,  APEX, Concur, IBS</a:t>
              </a:r>
            </a:p>
            <a:p>
              <a:pPr marL="171450" indent="-171450">
                <a:lnSpc>
                  <a:spcPct val="150000"/>
                </a:lnSpc>
                <a:buFont typeface="Arial" panose="020B0604020202020204" pitchFamily="34" charset="0"/>
                <a:buChar char="•"/>
              </a:pPr>
              <a:r>
                <a:rPr lang="en-IN" sz="1200" b="1" dirty="0">
                  <a:latin typeface="Calibri" panose="020F0502020204030204" pitchFamily="34" charset="0"/>
                  <a:ea typeface="Calibri" panose="020F0502020204030204" pitchFamily="34" charset="0"/>
                  <a:cs typeface="Calibri" panose="020F0502020204030204" pitchFamily="34" charset="0"/>
                </a:rPr>
                <a:t>Enterprise Standard:</a:t>
              </a:r>
              <a:r>
                <a:rPr lang="en-IN" sz="1200" dirty="0">
                  <a:latin typeface="Calibri" panose="020F0502020204030204" pitchFamily="34" charset="0"/>
                  <a:ea typeface="Calibri" panose="020F0502020204030204" pitchFamily="34" charset="0"/>
                  <a:cs typeface="Calibri" panose="020F0502020204030204" pitchFamily="34" charset="0"/>
                </a:rPr>
                <a:t>  Concur , IBS and APEX are 100% automated.</a:t>
              </a:r>
            </a:p>
            <a:p>
              <a:pPr marL="171450" indent="-171450">
                <a:lnSpc>
                  <a:spcPct val="150000"/>
                </a:lnSpc>
                <a:buFont typeface="Arial" panose="020B0604020202020204" pitchFamily="34" charset="0"/>
                <a:buChar char="•"/>
              </a:pPr>
              <a:r>
                <a:rPr lang="en-IN" sz="1200" b="1" dirty="0">
                  <a:latin typeface="Calibri" panose="020F0502020204030204" pitchFamily="34" charset="0"/>
                  <a:ea typeface="Calibri" panose="020F0502020204030204" pitchFamily="34" charset="0"/>
                  <a:cs typeface="Calibri" panose="020F0502020204030204" pitchFamily="34" charset="0"/>
                </a:rPr>
                <a:t>Configuration: </a:t>
              </a:r>
              <a:r>
                <a:rPr lang="en-IN" sz="1200" dirty="0">
                  <a:latin typeface="Calibri" panose="020F0502020204030204" pitchFamily="34" charset="0"/>
                  <a:ea typeface="Calibri" panose="020F0502020204030204" pitchFamily="34" charset="0"/>
                  <a:cs typeface="Calibri" panose="020F0502020204030204" pitchFamily="34" charset="0"/>
                </a:rPr>
                <a:t>Period opening scripts are run every month in Acceptance and Per-prod environments</a:t>
              </a:r>
              <a:endParaRPr lang="en-IN" sz="1200" b="1" dirty="0">
                <a:latin typeface="Calibri" panose="020F0502020204030204" pitchFamily="34" charset="0"/>
                <a:ea typeface="Calibri" panose="020F0502020204030204" pitchFamily="34" charset="0"/>
                <a:cs typeface="Calibri" panose="020F0502020204030204" pitchFamily="34" charset="0"/>
              </a:endParaRPr>
            </a:p>
            <a:p>
              <a:pPr marL="171450" indent="-171450" algn="l">
                <a:lnSpc>
                  <a:spcPct val="150000"/>
                </a:lnSpc>
                <a:buFont typeface="Arial" panose="020B0604020202020204" pitchFamily="34" charset="0"/>
                <a:buChar char="•"/>
              </a:pPr>
              <a:r>
                <a:rPr lang="en-IN" sz="1200" dirty="0">
                  <a:latin typeface="Calibri" panose="020F0502020204030204" pitchFamily="34" charset="0"/>
                  <a:ea typeface="Calibri" panose="020F0502020204030204" pitchFamily="34" charset="0"/>
                  <a:cs typeface="Calibri" panose="020F0502020204030204" pitchFamily="34" charset="0"/>
                </a:rPr>
                <a:t>Automation support is provided for SIT1, SIT2 and UAT testing.</a:t>
              </a:r>
            </a:p>
            <a:p>
              <a:pPr marL="171450" indent="-171450">
                <a:lnSpc>
                  <a:spcPct val="150000"/>
                </a:lnSpc>
                <a:buFont typeface="Arial" panose="020B0604020202020204" pitchFamily="34" charset="0"/>
                <a:buChar char="•"/>
              </a:pPr>
              <a:endParaRPr lang="en-IN" sz="1200" dirty="0">
                <a:latin typeface="Arial" panose="020B0604020202020204" pitchFamily="34" charset="0"/>
                <a:ea typeface="Calibri" panose="020F0502020204030204" pitchFamily="34" charset="0"/>
                <a:cs typeface="Arial" panose="020B0604020202020204" pitchFamily="34" charset="0"/>
              </a:endParaRPr>
            </a:p>
          </p:txBody>
        </p:sp>
      </p:grpSp>
    </p:spTree>
    <p:extLst>
      <p:ext uri="{BB962C8B-B14F-4D97-AF65-F5344CB8AC3E}">
        <p14:creationId xmlns:p14="http://schemas.microsoft.com/office/powerpoint/2010/main" val="23934286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A6D8F1-1B3B-2334-A815-F22D4010527C}"/>
              </a:ext>
            </a:extLst>
          </p:cNvPr>
          <p:cNvSpPr>
            <a:spLocks noGrp="1"/>
          </p:cNvSpPr>
          <p:nvPr>
            <p:ph type="title"/>
          </p:nvPr>
        </p:nvSpPr>
        <p:spPr/>
        <p:txBody>
          <a:bodyPr/>
          <a:lstStyle/>
          <a:p>
            <a:br>
              <a:rPr lang="en-IN" dirty="0"/>
            </a:br>
            <a:r>
              <a:rPr lang="en-IN" dirty="0"/>
              <a:t>ASSUMPTIONS – ECHO &amp; NEW UNITS</a:t>
            </a:r>
            <a:endParaRPr lang="en-US" dirty="0"/>
          </a:p>
        </p:txBody>
      </p:sp>
      <p:sp>
        <p:nvSpPr>
          <p:cNvPr id="4" name="TextBox 3">
            <a:extLst>
              <a:ext uri="{FF2B5EF4-FFF2-40B4-BE49-F238E27FC236}">
                <a16:creationId xmlns:a16="http://schemas.microsoft.com/office/drawing/2014/main" id="{2036C54B-9125-86A6-C0FF-BCD6993DE4F0}"/>
              </a:ext>
            </a:extLst>
          </p:cNvPr>
          <p:cNvSpPr txBox="1"/>
          <p:nvPr/>
        </p:nvSpPr>
        <p:spPr>
          <a:xfrm>
            <a:off x="639097" y="697620"/>
            <a:ext cx="7847365" cy="3580467"/>
          </a:xfrm>
          <a:prstGeom prst="rect">
            <a:avLst/>
          </a:prstGeom>
          <a:noFill/>
        </p:spPr>
        <p:txBody>
          <a:bodyPr wrap="square">
            <a:spAutoFit/>
          </a:bodyPr>
          <a:lstStyle/>
          <a:p>
            <a:pPr marL="114300" indent="-114300" fontAlgn="base">
              <a:spcBef>
                <a:spcPts val="200"/>
              </a:spcBef>
              <a:spcAft>
                <a:spcPts val="600"/>
              </a:spcAft>
              <a:buClr>
                <a:schemeClr val="tx1"/>
              </a:buClr>
              <a:buFont typeface="Arial" panose="020B0604020202020204" pitchFamily="34" charset="0"/>
              <a:buChar char="•"/>
              <a:defRPr/>
            </a:pPr>
            <a:endParaRPr lang="en-US" sz="1200" kern="0" dirty="0">
              <a:latin typeface="Ubuntu"/>
              <a:ea typeface="ＭＳ Ｐゴシック" pitchFamily="34" charset="-128"/>
              <a:cs typeface="Arial" panose="020B0604020202020204" pitchFamily="34" charset="0"/>
            </a:endParaRPr>
          </a:p>
          <a:p>
            <a:pPr marL="114300" indent="-114300" fontAlgn="base">
              <a:spcBef>
                <a:spcPts val="200"/>
              </a:spcBef>
              <a:spcAft>
                <a:spcPts val="600"/>
              </a:spcAft>
              <a:buClr>
                <a:schemeClr val="tx1"/>
              </a:buClr>
              <a:buFont typeface="Arial" panose="020B0604020202020204" pitchFamily="34" charset="0"/>
              <a:buChar char="•"/>
              <a:defRPr/>
            </a:pPr>
            <a:r>
              <a:rPr lang="en-IN" sz="1200" kern="0" dirty="0">
                <a:latin typeface="Ubuntu"/>
                <a:ea typeface="ＭＳ Ｐゴシック" pitchFamily="34" charset="-128"/>
                <a:cs typeface="Arial" panose="020B0604020202020204" pitchFamily="34" charset="0"/>
              </a:rPr>
              <a:t>Estimate coverage  of below processes</a:t>
            </a:r>
          </a:p>
          <a:p>
            <a:pPr marL="742950" lvl="1" indent="-285750">
              <a:buFont typeface="Wingdings" panose="05000000000000000000" pitchFamily="2" charset="2"/>
              <a:buChar char="§"/>
            </a:pPr>
            <a:r>
              <a:rPr lang="en-US" sz="1200" dirty="0"/>
              <a:t>APEX – LTL, Cora, </a:t>
            </a:r>
            <a:r>
              <a:rPr lang="en-US" sz="1200" dirty="0" err="1"/>
              <a:t>Sabrix</a:t>
            </a:r>
            <a:r>
              <a:rPr lang="en-US" sz="1200" dirty="0"/>
              <a:t> and IBS modular testing.</a:t>
            </a:r>
          </a:p>
          <a:p>
            <a:pPr marL="742950" lvl="1" indent="-285750">
              <a:buFont typeface="Wingdings" panose="05000000000000000000" pitchFamily="2" charset="2"/>
              <a:buChar char="§"/>
            </a:pPr>
            <a:r>
              <a:rPr lang="en-US" sz="1200" dirty="0" err="1"/>
              <a:t>Fx</a:t>
            </a:r>
            <a:r>
              <a:rPr lang="en-US" sz="1200" dirty="0"/>
              <a:t> Internal and External Single Request/Request Sets</a:t>
            </a:r>
          </a:p>
          <a:p>
            <a:pPr marL="742950" lvl="1" indent="-285750">
              <a:buFont typeface="Wingdings" panose="05000000000000000000" pitchFamily="2" charset="2"/>
              <a:buChar char="§"/>
            </a:pPr>
            <a:r>
              <a:rPr lang="en-US" sz="1200" dirty="0"/>
              <a:t>IBS Validation – PO Validation in IBS</a:t>
            </a:r>
          </a:p>
          <a:p>
            <a:pPr marL="742950" lvl="1" indent="-285750">
              <a:buFont typeface="Wingdings" panose="05000000000000000000" pitchFamily="2" charset="2"/>
              <a:buChar char="§"/>
            </a:pPr>
            <a:r>
              <a:rPr lang="en-US" sz="1200" dirty="0"/>
              <a:t>Clear Orbit – ERP to </a:t>
            </a:r>
            <a:r>
              <a:rPr lang="en-US" sz="1200" dirty="0" err="1"/>
              <a:t>ClearOrbit</a:t>
            </a:r>
            <a:r>
              <a:rPr lang="en-US" sz="1200" dirty="0"/>
              <a:t> integration scenarios</a:t>
            </a:r>
          </a:p>
          <a:p>
            <a:pPr marL="742950" lvl="1" indent="-285750">
              <a:buFont typeface="Wingdings" panose="05000000000000000000" pitchFamily="2" charset="2"/>
              <a:buChar char="§"/>
            </a:pPr>
            <a:r>
              <a:rPr lang="en-US" sz="1200" dirty="0"/>
              <a:t>FI Periods – AP, AR, GL, PO and PS PA</a:t>
            </a:r>
          </a:p>
          <a:p>
            <a:pPr marL="742950" lvl="1" indent="-285750">
              <a:buFont typeface="Wingdings" panose="05000000000000000000" pitchFamily="2" charset="2"/>
              <a:buChar char="§"/>
            </a:pPr>
            <a:r>
              <a:rPr lang="en-US" sz="1200" dirty="0"/>
              <a:t>Creation -  PR, PO, Receipts, SO, Invoice creation.	</a:t>
            </a:r>
          </a:p>
          <a:p>
            <a:pPr lvl="1"/>
            <a:endParaRPr lang="en-US" sz="1200" dirty="0"/>
          </a:p>
          <a:p>
            <a:pPr marL="114300" indent="-114300" fontAlgn="base">
              <a:spcBef>
                <a:spcPts val="200"/>
              </a:spcBef>
              <a:spcAft>
                <a:spcPts val="600"/>
              </a:spcAft>
              <a:buClr>
                <a:schemeClr val="tx1"/>
              </a:buClr>
              <a:buFont typeface="Arial" panose="020B0604020202020204" pitchFamily="34" charset="0"/>
              <a:buChar char="•"/>
              <a:defRPr/>
            </a:pPr>
            <a:r>
              <a:rPr lang="en-IN" sz="1200" kern="0" dirty="0">
                <a:latin typeface="Ubuntu"/>
                <a:ea typeface="ＭＳ Ｐゴシック" pitchFamily="34" charset="-128"/>
                <a:cs typeface="Arial" panose="020B0604020202020204" pitchFamily="34" charset="0"/>
              </a:rPr>
              <a:t>Automation testing team can support SIT/UAT for an estimate of 8 countries per release.</a:t>
            </a:r>
          </a:p>
          <a:p>
            <a:pPr marL="114300" indent="-114300" fontAlgn="base">
              <a:spcBef>
                <a:spcPts val="200"/>
              </a:spcBef>
              <a:spcAft>
                <a:spcPts val="600"/>
              </a:spcAft>
              <a:buClr>
                <a:schemeClr val="tx1"/>
              </a:buClr>
              <a:buFont typeface="Arial" panose="020B0604020202020204" pitchFamily="34" charset="0"/>
              <a:buChar char="•"/>
              <a:defRPr/>
            </a:pPr>
            <a:r>
              <a:rPr lang="en-IN" sz="1200" kern="0" dirty="0">
                <a:latin typeface="Ubuntu"/>
                <a:ea typeface="ＭＳ Ｐゴシック" pitchFamily="34" charset="-128"/>
                <a:cs typeface="Arial" panose="020B0604020202020204" pitchFamily="34" charset="0"/>
              </a:rPr>
              <a:t>Automation support is provided for SIT1, SIT2 and UAT testing.</a:t>
            </a:r>
          </a:p>
          <a:p>
            <a:pPr fontAlgn="base">
              <a:spcBef>
                <a:spcPts val="200"/>
              </a:spcBef>
              <a:spcAft>
                <a:spcPts val="600"/>
              </a:spcAft>
              <a:buClr>
                <a:schemeClr val="tx1"/>
              </a:buClr>
              <a:defRPr/>
            </a:pPr>
            <a:endParaRPr lang="en-US" sz="1200" kern="0" dirty="0">
              <a:latin typeface="Ubuntu"/>
              <a:ea typeface="ＭＳ Ｐゴシック" pitchFamily="34" charset="-128"/>
              <a:cs typeface="Arial" panose="020B0604020202020204" pitchFamily="34" charset="0"/>
            </a:endParaRPr>
          </a:p>
          <a:p>
            <a:pPr marL="114300" indent="-114300" fontAlgn="base">
              <a:spcBef>
                <a:spcPts val="200"/>
              </a:spcBef>
              <a:spcAft>
                <a:spcPts val="600"/>
              </a:spcAft>
              <a:buClr>
                <a:schemeClr val="tx1"/>
              </a:buClr>
              <a:buFont typeface="Arial" panose="020B0604020202020204" pitchFamily="34" charset="0"/>
              <a:buChar char="•"/>
              <a:defRPr/>
            </a:pPr>
            <a:r>
              <a:rPr lang="en-IN" sz="1200" kern="0" dirty="0">
                <a:latin typeface="Ubuntu"/>
                <a:ea typeface="ＭＳ Ｐゴシック" pitchFamily="34" charset="-128"/>
                <a:cs typeface="Arial" panose="020B0604020202020204" pitchFamily="34" charset="0"/>
              </a:rPr>
              <a:t>SIT/UAT finalization done by Business Owners.</a:t>
            </a:r>
          </a:p>
          <a:p>
            <a:pPr marL="114300" indent="-114300" fontAlgn="base">
              <a:spcBef>
                <a:spcPts val="200"/>
              </a:spcBef>
              <a:spcAft>
                <a:spcPts val="600"/>
              </a:spcAft>
              <a:buClr>
                <a:schemeClr val="tx1"/>
              </a:buClr>
              <a:buFont typeface="Arial" panose="020B0604020202020204" pitchFamily="34" charset="0"/>
              <a:buChar char="•"/>
              <a:defRPr/>
            </a:pPr>
            <a:r>
              <a:rPr lang="en-IN" sz="1200" kern="0" dirty="0">
                <a:latin typeface="Ubuntu"/>
                <a:ea typeface="ＭＳ Ｐゴシック" pitchFamily="34" charset="-128"/>
                <a:cs typeface="Arial" panose="020B0604020202020204" pitchFamily="34" charset="0"/>
              </a:rPr>
              <a:t>Scenarios identification-based User stories done by Business.</a:t>
            </a:r>
            <a:endParaRPr lang="en-US" sz="1200" kern="0" dirty="0">
              <a:latin typeface="Ubuntu"/>
              <a:ea typeface="ＭＳ Ｐゴシック" pitchFamily="34" charset="-128"/>
              <a:cs typeface="Arial" panose="020B0604020202020204" pitchFamily="34" charset="0"/>
            </a:endParaRPr>
          </a:p>
          <a:p>
            <a:pPr marL="114300" lvl="0" indent="-114300" fontAlgn="base">
              <a:spcBef>
                <a:spcPts val="200"/>
              </a:spcBef>
              <a:spcAft>
                <a:spcPts val="600"/>
              </a:spcAft>
              <a:buClr>
                <a:schemeClr val="tx1"/>
              </a:buClr>
              <a:buFont typeface="Arial" panose="020B0604020202020204" pitchFamily="34" charset="0"/>
              <a:buChar char="•"/>
              <a:defRPr/>
            </a:pPr>
            <a:r>
              <a:rPr lang="en-IN" sz="1200" kern="0" dirty="0">
                <a:latin typeface="Ubuntu"/>
                <a:ea typeface="ＭＳ Ｐゴシック" pitchFamily="34" charset="-128"/>
                <a:cs typeface="Arial" panose="020B0604020202020204" pitchFamily="34" charset="0"/>
              </a:rPr>
              <a:t>Charlie ERP testing, Finance validation, Cost validation done by Business.</a:t>
            </a:r>
            <a:endParaRPr lang="en-US" sz="1200" kern="0" dirty="0">
              <a:latin typeface="Ubuntu"/>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19513699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88996B-10BD-7610-104D-8AD941FC1FE9}"/>
              </a:ext>
            </a:extLst>
          </p:cNvPr>
          <p:cNvSpPr>
            <a:spLocks noGrp="1"/>
          </p:cNvSpPr>
          <p:nvPr>
            <p:ph type="title"/>
          </p:nvPr>
        </p:nvSpPr>
        <p:spPr>
          <a:xfrm>
            <a:off x="193548" y="274321"/>
            <a:ext cx="11804903" cy="576071"/>
          </a:xfrm>
        </p:spPr>
        <p:txBody>
          <a:bodyPr/>
          <a:lstStyle/>
          <a:p>
            <a:r>
              <a:rPr lang="en-IN" dirty="0"/>
              <a:t>Execution Approach</a:t>
            </a:r>
            <a:endParaRPr lang="en-US" dirty="0"/>
          </a:p>
        </p:txBody>
      </p:sp>
      <p:grpSp>
        <p:nvGrpSpPr>
          <p:cNvPr id="39" name="Group 38">
            <a:extLst>
              <a:ext uri="{FF2B5EF4-FFF2-40B4-BE49-F238E27FC236}">
                <a16:creationId xmlns:a16="http://schemas.microsoft.com/office/drawing/2014/main" id="{D101F126-06A6-1EDA-2F40-57CE804284F9}"/>
              </a:ext>
            </a:extLst>
          </p:cNvPr>
          <p:cNvGrpSpPr/>
          <p:nvPr/>
        </p:nvGrpSpPr>
        <p:grpSpPr>
          <a:xfrm>
            <a:off x="377953" y="1209396"/>
            <a:ext cx="10217812" cy="3903487"/>
            <a:chOff x="304801" y="715620"/>
            <a:chExt cx="10217812" cy="3903487"/>
          </a:xfrm>
        </p:grpSpPr>
        <p:grpSp>
          <p:nvGrpSpPr>
            <p:cNvPr id="15" name="Group 14">
              <a:extLst>
                <a:ext uri="{FF2B5EF4-FFF2-40B4-BE49-F238E27FC236}">
                  <a16:creationId xmlns:a16="http://schemas.microsoft.com/office/drawing/2014/main" id="{8A94F7A3-AF9B-228C-1E5C-3E529F872BE3}"/>
                </a:ext>
              </a:extLst>
            </p:cNvPr>
            <p:cNvGrpSpPr/>
            <p:nvPr/>
          </p:nvGrpSpPr>
          <p:grpSpPr>
            <a:xfrm>
              <a:off x="304801" y="722376"/>
              <a:ext cx="2557272" cy="3889863"/>
              <a:chOff x="743712" y="1837944"/>
              <a:chExt cx="2621283" cy="3651962"/>
            </a:xfrm>
          </p:grpSpPr>
          <p:sp>
            <p:nvSpPr>
              <p:cNvPr id="13" name="Callout: Down Arrow 12">
                <a:extLst>
                  <a:ext uri="{FF2B5EF4-FFF2-40B4-BE49-F238E27FC236}">
                    <a16:creationId xmlns:a16="http://schemas.microsoft.com/office/drawing/2014/main" id="{4D4DDE60-6A39-3C2E-5EC9-92893D1527F8}"/>
                  </a:ext>
                </a:extLst>
              </p:cNvPr>
              <p:cNvSpPr/>
              <p:nvPr/>
            </p:nvSpPr>
            <p:spPr>
              <a:xfrm rot="16200000">
                <a:off x="2439926" y="1631847"/>
                <a:ext cx="411479" cy="1438658"/>
              </a:xfrm>
              <a:prstGeom prst="downArrowCallou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7" name="Rectangle: Rounded Corners 6">
                <a:extLst>
                  <a:ext uri="{FF2B5EF4-FFF2-40B4-BE49-F238E27FC236}">
                    <a16:creationId xmlns:a16="http://schemas.microsoft.com/office/drawing/2014/main" id="{2C586D6F-8011-FB33-6A7C-4FCF26090419}"/>
                  </a:ext>
                </a:extLst>
              </p:cNvPr>
              <p:cNvSpPr/>
              <p:nvPr/>
            </p:nvSpPr>
            <p:spPr>
              <a:xfrm>
                <a:off x="743712" y="1837944"/>
                <a:ext cx="2365248" cy="71897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bg1"/>
                    </a:solidFill>
                    <a:latin typeface="Ubuntu" panose="020B0504030602030204" pitchFamily="34" charset="0"/>
                  </a:rPr>
                  <a:t>Scope Identification</a:t>
                </a:r>
                <a:endParaRPr lang="en-US" sz="1200" dirty="0">
                  <a:solidFill>
                    <a:schemeClr val="bg1"/>
                  </a:solidFill>
                  <a:latin typeface="Ubuntu" panose="020B0504030602030204" pitchFamily="34" charset="0"/>
                </a:endParaRPr>
              </a:p>
            </p:txBody>
          </p:sp>
          <p:sp>
            <p:nvSpPr>
              <p:cNvPr id="11" name="Rectangle: Rounded Corners 10">
                <a:extLst>
                  <a:ext uri="{FF2B5EF4-FFF2-40B4-BE49-F238E27FC236}">
                    <a16:creationId xmlns:a16="http://schemas.microsoft.com/office/drawing/2014/main" id="{7FBA1602-B8B8-5642-4D2E-01572656CBAD}"/>
                  </a:ext>
                </a:extLst>
              </p:cNvPr>
              <p:cNvSpPr/>
              <p:nvPr/>
            </p:nvSpPr>
            <p:spPr>
              <a:xfrm>
                <a:off x="743712" y="2556914"/>
                <a:ext cx="2365248" cy="2932992"/>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grpSp>
        <p:grpSp>
          <p:nvGrpSpPr>
            <p:cNvPr id="16" name="Group 15">
              <a:extLst>
                <a:ext uri="{FF2B5EF4-FFF2-40B4-BE49-F238E27FC236}">
                  <a16:creationId xmlns:a16="http://schemas.microsoft.com/office/drawing/2014/main" id="{6C6871C0-5893-AEC6-DA9E-D0E038EE3E02}"/>
                </a:ext>
              </a:extLst>
            </p:cNvPr>
            <p:cNvGrpSpPr/>
            <p:nvPr/>
          </p:nvGrpSpPr>
          <p:grpSpPr>
            <a:xfrm>
              <a:off x="2862073" y="728471"/>
              <a:ext cx="2557272" cy="3890491"/>
              <a:chOff x="743712" y="1837944"/>
              <a:chExt cx="2621283" cy="3770376"/>
            </a:xfrm>
          </p:grpSpPr>
          <p:sp>
            <p:nvSpPr>
              <p:cNvPr id="17" name="Callout: Down Arrow 16">
                <a:extLst>
                  <a:ext uri="{FF2B5EF4-FFF2-40B4-BE49-F238E27FC236}">
                    <a16:creationId xmlns:a16="http://schemas.microsoft.com/office/drawing/2014/main" id="{DD1AC843-523B-187E-6DEC-A239589AB133}"/>
                  </a:ext>
                </a:extLst>
              </p:cNvPr>
              <p:cNvSpPr/>
              <p:nvPr/>
            </p:nvSpPr>
            <p:spPr>
              <a:xfrm rot="16200000">
                <a:off x="2439926" y="1631847"/>
                <a:ext cx="411479" cy="1438658"/>
              </a:xfrm>
              <a:prstGeom prst="downArrowCallou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8" name="Rectangle: Rounded Corners 17">
                <a:extLst>
                  <a:ext uri="{FF2B5EF4-FFF2-40B4-BE49-F238E27FC236}">
                    <a16:creationId xmlns:a16="http://schemas.microsoft.com/office/drawing/2014/main" id="{E95F02A4-3252-DBD2-B56D-754E798CB6A1}"/>
                  </a:ext>
                </a:extLst>
              </p:cNvPr>
              <p:cNvSpPr/>
              <p:nvPr/>
            </p:nvSpPr>
            <p:spPr>
              <a:xfrm>
                <a:off x="743712" y="1837944"/>
                <a:ext cx="2365248" cy="71897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bg1"/>
                    </a:solidFill>
                    <a:latin typeface="Ubuntu" panose="020B0504030602030204" pitchFamily="34" charset="0"/>
                  </a:rPr>
                  <a:t>Automation Readiness</a:t>
                </a:r>
                <a:endParaRPr lang="en-US" sz="1200" dirty="0">
                  <a:solidFill>
                    <a:schemeClr val="bg1"/>
                  </a:solidFill>
                  <a:latin typeface="Ubuntu" panose="020B0504030602030204" pitchFamily="34" charset="0"/>
                </a:endParaRPr>
              </a:p>
            </p:txBody>
          </p:sp>
          <p:sp>
            <p:nvSpPr>
              <p:cNvPr id="19" name="Rectangle: Rounded Corners 18">
                <a:extLst>
                  <a:ext uri="{FF2B5EF4-FFF2-40B4-BE49-F238E27FC236}">
                    <a16:creationId xmlns:a16="http://schemas.microsoft.com/office/drawing/2014/main" id="{69AE7D6A-B50D-CBFE-978D-F28F90A05F31}"/>
                  </a:ext>
                </a:extLst>
              </p:cNvPr>
              <p:cNvSpPr/>
              <p:nvPr/>
            </p:nvSpPr>
            <p:spPr>
              <a:xfrm>
                <a:off x="743712" y="2556915"/>
                <a:ext cx="2365248" cy="3051405"/>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grpSp>
        <p:grpSp>
          <p:nvGrpSpPr>
            <p:cNvPr id="20" name="Group 19">
              <a:extLst>
                <a:ext uri="{FF2B5EF4-FFF2-40B4-BE49-F238E27FC236}">
                  <a16:creationId xmlns:a16="http://schemas.microsoft.com/office/drawing/2014/main" id="{1F7BFE5B-1AB3-F58E-5F4C-B9BDE1FEEC26}"/>
                </a:ext>
              </a:extLst>
            </p:cNvPr>
            <p:cNvGrpSpPr/>
            <p:nvPr/>
          </p:nvGrpSpPr>
          <p:grpSpPr>
            <a:xfrm>
              <a:off x="5410709" y="722376"/>
              <a:ext cx="2724656" cy="3896731"/>
              <a:chOff x="743711" y="1848771"/>
              <a:chExt cx="2699548" cy="3566113"/>
            </a:xfrm>
          </p:grpSpPr>
          <p:sp>
            <p:nvSpPr>
              <p:cNvPr id="21" name="Callout: Down Arrow 20">
                <a:extLst>
                  <a:ext uri="{FF2B5EF4-FFF2-40B4-BE49-F238E27FC236}">
                    <a16:creationId xmlns:a16="http://schemas.microsoft.com/office/drawing/2014/main" id="{4D2C1849-FC0C-C2AD-FD87-87633CFCFA09}"/>
                  </a:ext>
                </a:extLst>
              </p:cNvPr>
              <p:cNvSpPr/>
              <p:nvPr/>
            </p:nvSpPr>
            <p:spPr>
              <a:xfrm rot="16200000">
                <a:off x="2479058" y="1592714"/>
                <a:ext cx="411479" cy="1516922"/>
              </a:xfrm>
              <a:prstGeom prst="downArrowCallou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23" name="Rectangle: Rounded Corners 22">
                <a:extLst>
                  <a:ext uri="{FF2B5EF4-FFF2-40B4-BE49-F238E27FC236}">
                    <a16:creationId xmlns:a16="http://schemas.microsoft.com/office/drawing/2014/main" id="{28342F22-475C-24D7-D9BF-473B85547918}"/>
                  </a:ext>
                </a:extLst>
              </p:cNvPr>
              <p:cNvSpPr/>
              <p:nvPr/>
            </p:nvSpPr>
            <p:spPr>
              <a:xfrm>
                <a:off x="763468" y="2504653"/>
                <a:ext cx="2482990" cy="2910231"/>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22" name="Rectangle: Rounded Corners 21">
                <a:extLst>
                  <a:ext uri="{FF2B5EF4-FFF2-40B4-BE49-F238E27FC236}">
                    <a16:creationId xmlns:a16="http://schemas.microsoft.com/office/drawing/2014/main" id="{49618982-261F-39CC-9DAC-3BD0C79668C6}"/>
                  </a:ext>
                </a:extLst>
              </p:cNvPr>
              <p:cNvSpPr/>
              <p:nvPr/>
            </p:nvSpPr>
            <p:spPr>
              <a:xfrm>
                <a:off x="743711" y="1848771"/>
                <a:ext cx="2482990" cy="68468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bg1"/>
                    </a:solidFill>
                    <a:latin typeface="Ubuntu" panose="020B0504030602030204" pitchFamily="34" charset="0"/>
                  </a:rPr>
                  <a:t>Automation Execution</a:t>
                </a:r>
                <a:endParaRPr lang="en-US" sz="1200" dirty="0">
                  <a:solidFill>
                    <a:schemeClr val="bg1"/>
                  </a:solidFill>
                  <a:latin typeface="Ubuntu" panose="020B0504030602030204" pitchFamily="34" charset="0"/>
                </a:endParaRPr>
              </a:p>
            </p:txBody>
          </p:sp>
        </p:grpSp>
        <p:grpSp>
          <p:nvGrpSpPr>
            <p:cNvPr id="24" name="Group 23">
              <a:extLst>
                <a:ext uri="{FF2B5EF4-FFF2-40B4-BE49-F238E27FC236}">
                  <a16:creationId xmlns:a16="http://schemas.microsoft.com/office/drawing/2014/main" id="{C4579702-97E4-8D32-AB70-6EDE53CA7073}"/>
                </a:ext>
              </a:extLst>
            </p:cNvPr>
            <p:cNvGrpSpPr/>
            <p:nvPr/>
          </p:nvGrpSpPr>
          <p:grpSpPr>
            <a:xfrm>
              <a:off x="8135365" y="715620"/>
              <a:ext cx="2387248" cy="3896779"/>
              <a:chOff x="743712" y="1837944"/>
              <a:chExt cx="2447003" cy="3004147"/>
            </a:xfrm>
          </p:grpSpPr>
          <p:sp>
            <p:nvSpPr>
              <p:cNvPr id="26" name="Rectangle: Rounded Corners 25">
                <a:extLst>
                  <a:ext uri="{FF2B5EF4-FFF2-40B4-BE49-F238E27FC236}">
                    <a16:creationId xmlns:a16="http://schemas.microsoft.com/office/drawing/2014/main" id="{7E958BB2-6DCB-318C-B7E1-7B0227D164CF}"/>
                  </a:ext>
                </a:extLst>
              </p:cNvPr>
              <p:cNvSpPr/>
              <p:nvPr/>
            </p:nvSpPr>
            <p:spPr>
              <a:xfrm>
                <a:off x="743712" y="1837944"/>
                <a:ext cx="2447002" cy="61757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Maintenance/ Continuous Improvement</a:t>
                </a:r>
                <a:endParaRPr lang="en-US" sz="1200" dirty="0">
                  <a:solidFill>
                    <a:schemeClr val="bg1"/>
                  </a:solidFill>
                  <a:latin typeface="Ubuntu" panose="020B0504030602030204" pitchFamily="34" charset="0"/>
                </a:endParaRPr>
              </a:p>
            </p:txBody>
          </p:sp>
          <p:sp>
            <p:nvSpPr>
              <p:cNvPr id="27" name="Rectangle: Rounded Corners 26">
                <a:extLst>
                  <a:ext uri="{FF2B5EF4-FFF2-40B4-BE49-F238E27FC236}">
                    <a16:creationId xmlns:a16="http://schemas.microsoft.com/office/drawing/2014/main" id="{4B147D7C-27EE-4D1F-7502-03E7E31C84A6}"/>
                  </a:ext>
                </a:extLst>
              </p:cNvPr>
              <p:cNvSpPr/>
              <p:nvPr/>
            </p:nvSpPr>
            <p:spPr>
              <a:xfrm>
                <a:off x="743712" y="2455519"/>
                <a:ext cx="2447003" cy="2386572"/>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grpSp>
        <p:sp>
          <p:nvSpPr>
            <p:cNvPr id="30" name="Text Box 194">
              <a:extLst>
                <a:ext uri="{FF2B5EF4-FFF2-40B4-BE49-F238E27FC236}">
                  <a16:creationId xmlns:a16="http://schemas.microsoft.com/office/drawing/2014/main" id="{BC12A87A-DE41-4402-DE1E-E7D5D5711770}"/>
                </a:ext>
              </a:extLst>
            </p:cNvPr>
            <p:cNvSpPr txBox="1">
              <a:spLocks noChangeArrowheads="1"/>
            </p:cNvSpPr>
            <p:nvPr/>
          </p:nvSpPr>
          <p:spPr bwMode="auto">
            <a:xfrm>
              <a:off x="2822194" y="1535655"/>
              <a:ext cx="2387246" cy="2892552"/>
            </a:xfrm>
            <a:prstGeom prst="rect">
              <a:avLst/>
            </a:prstGeom>
            <a:noFill/>
            <a:ln w="9525" algn="ctr">
              <a:noFill/>
              <a:miter lim="800000"/>
              <a:headEnd/>
              <a:tailEnd/>
            </a:ln>
          </p:spPr>
          <p:txBody>
            <a:bodyPr/>
            <a:lstStyle>
              <a:defPPr>
                <a:defRPr lang="en-US"/>
              </a:defPPr>
              <a:lvl1pPr marL="114300" indent="-114300" fontAlgn="base">
                <a:spcBef>
                  <a:spcPct val="30000"/>
                </a:spcBef>
                <a:spcAft>
                  <a:spcPct val="0"/>
                </a:spcAft>
                <a:buClr>
                  <a:srgbClr val="1EA3D2"/>
                </a:buClr>
                <a:buFont typeface="Wingdings" pitchFamily="2" charset="2"/>
                <a:buChar char="§"/>
                <a:defRPr sz="1000">
                  <a:solidFill>
                    <a:prstClr val="black"/>
                  </a:solidFill>
                  <a:latin typeface="Candara" panose="020E0502030303020204" pitchFamily="34" charset="0"/>
                  <a:ea typeface="ＭＳ Ｐゴシック" pitchFamily="34" charset="-128"/>
                  <a:cs typeface="Times New Roman" pitchFamily="18" charset="0"/>
                </a:defRPr>
              </a:lvl1pPr>
            </a:lstStyle>
            <a:p>
              <a:pPr marR="0" lvl="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r>
                <a:rPr lang="en-US" sz="1200" kern="0" dirty="0">
                  <a:latin typeface="Ubuntu"/>
                  <a:cs typeface="Arial" panose="020B0604020202020204" pitchFamily="34" charset="0"/>
                </a:rPr>
                <a:t>Prepare automation schedule to align with release calendar.</a:t>
              </a:r>
            </a:p>
            <a:p>
              <a:pPr marR="0" lvl="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r>
                <a:rPr lang="en-US" sz="1200" kern="0" dirty="0">
                  <a:latin typeface="Ubuntu"/>
                  <a:cs typeface="Arial" panose="020B0604020202020204" pitchFamily="34" charset="0"/>
                </a:rPr>
                <a:t>Prepare Day to day execution plan.</a:t>
              </a:r>
            </a:p>
            <a:p>
              <a:pPr marR="0" lvl="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r>
                <a:rPr lang="en-US" sz="1200" kern="0" dirty="0">
                  <a:latin typeface="Ubuntu"/>
                  <a:cs typeface="Arial" panose="020B0604020202020204" pitchFamily="34" charset="0"/>
                </a:rPr>
                <a:t>Prepare Master Data and derive test data sets.</a:t>
              </a:r>
            </a:p>
            <a:p>
              <a:pPr marR="0" lvl="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r>
                <a:rPr lang="en-US" sz="1200" kern="0" dirty="0">
                  <a:latin typeface="Ubuntu"/>
                  <a:cs typeface="Arial" panose="020B0604020202020204" pitchFamily="34" charset="0"/>
                </a:rPr>
                <a:t>Validate configuration and Integration of pillar applications</a:t>
              </a:r>
            </a:p>
            <a:p>
              <a:pPr marR="0" lvl="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Times New Roman" pitchFamily="18" charset="0"/>
                </a:rPr>
                <a:t>Align automation tools and infrastructure.</a:t>
              </a:r>
            </a:p>
            <a:p>
              <a:pPr marR="0" lvl="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endParaRPr kumimoji="0" lang="en-US" sz="1200" b="0" i="0" u="none" strike="noStrike" kern="0" cap="none" spc="0" normalizeH="0" baseline="0" noProof="0" dirty="0">
                <a:ln>
                  <a:noFill/>
                </a:ln>
                <a:solidFill>
                  <a:prstClr val="black"/>
                </a:solidFill>
                <a:effectLst/>
                <a:uLnTx/>
                <a:uFillTx/>
                <a:latin typeface="Ubuntu"/>
                <a:ea typeface="ＭＳ Ｐゴシック" pitchFamily="34" charset="-128"/>
                <a:cs typeface="Times New Roman" pitchFamily="18" charset="0"/>
              </a:endParaRPr>
            </a:p>
          </p:txBody>
        </p:sp>
        <p:sp>
          <p:nvSpPr>
            <p:cNvPr id="31" name="Text Box 194">
              <a:extLst>
                <a:ext uri="{FF2B5EF4-FFF2-40B4-BE49-F238E27FC236}">
                  <a16:creationId xmlns:a16="http://schemas.microsoft.com/office/drawing/2014/main" id="{8DA16708-9F68-9C19-8460-9791BC99C3F6}"/>
                </a:ext>
              </a:extLst>
            </p:cNvPr>
            <p:cNvSpPr txBox="1">
              <a:spLocks noChangeArrowheads="1"/>
            </p:cNvSpPr>
            <p:nvPr/>
          </p:nvSpPr>
          <p:spPr bwMode="auto">
            <a:xfrm>
              <a:off x="304802" y="1581909"/>
              <a:ext cx="2307488" cy="3016733"/>
            </a:xfrm>
            <a:prstGeom prst="rect">
              <a:avLst/>
            </a:prstGeom>
            <a:noFill/>
            <a:ln w="9525" algn="ctr">
              <a:noFill/>
              <a:miter lim="800000"/>
              <a:headEnd/>
              <a:tailEnd/>
            </a:ln>
          </p:spPr>
          <p:txBody>
            <a:bodyPr/>
            <a:lstStyle>
              <a:defPPr>
                <a:defRPr lang="en-US"/>
              </a:defPPr>
              <a:lvl1pPr marL="114300" indent="-114300" fontAlgn="base">
                <a:spcBef>
                  <a:spcPct val="30000"/>
                </a:spcBef>
                <a:spcAft>
                  <a:spcPct val="0"/>
                </a:spcAft>
                <a:buClr>
                  <a:srgbClr val="1EA3D2"/>
                </a:buClr>
                <a:buFont typeface="Wingdings" pitchFamily="2" charset="2"/>
                <a:buChar char="§"/>
                <a:defRPr sz="1000">
                  <a:solidFill>
                    <a:prstClr val="black"/>
                  </a:solidFill>
                  <a:latin typeface="Candara" panose="020E0502030303020204" pitchFamily="34" charset="0"/>
                  <a:ea typeface="ＭＳ Ｐゴシック" pitchFamily="34" charset="-128"/>
                  <a:cs typeface="Times New Roman" pitchFamily="18" charset="0"/>
                </a:defRPr>
              </a:lvl1pPr>
            </a:lstStyle>
            <a:p>
              <a:pPr marR="0" lvl="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r>
                <a:rPr lang="en-US" sz="1200" kern="0" dirty="0">
                  <a:latin typeface="Ubuntu"/>
                  <a:cs typeface="Arial" panose="020B0604020202020204" pitchFamily="34" charset="0"/>
                </a:rPr>
                <a:t>Scope identification based on business needs &amp; Countries.</a:t>
              </a:r>
            </a:p>
            <a:p>
              <a:pPr marR="0" lvl="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r>
                <a:rPr lang="en-US" sz="1200" kern="0" dirty="0">
                  <a:latin typeface="Ubuntu"/>
                  <a:cs typeface="Arial" panose="020B0604020202020204" pitchFamily="34" charset="0"/>
                </a:rPr>
                <a:t>Analyze &amp; gather  automation scope for  functionalities, integrations and scenarios.</a:t>
              </a:r>
            </a:p>
            <a:p>
              <a:pPr marR="0" lvl="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r>
                <a:rPr lang="en-US" sz="1200" kern="0" dirty="0">
                  <a:latin typeface="Ubuntu"/>
                  <a:cs typeface="Arial" panose="020B0604020202020204" pitchFamily="34" charset="0"/>
                </a:rPr>
                <a:t>Identify performance testing scenarios.</a:t>
              </a:r>
            </a:p>
          </p:txBody>
        </p:sp>
        <p:sp>
          <p:nvSpPr>
            <p:cNvPr id="32" name="Text Box 194">
              <a:extLst>
                <a:ext uri="{FF2B5EF4-FFF2-40B4-BE49-F238E27FC236}">
                  <a16:creationId xmlns:a16="http://schemas.microsoft.com/office/drawing/2014/main" id="{88639E92-0F24-2AF5-7DAD-CADC457F62A6}"/>
                </a:ext>
              </a:extLst>
            </p:cNvPr>
            <p:cNvSpPr txBox="1">
              <a:spLocks noChangeArrowheads="1"/>
            </p:cNvSpPr>
            <p:nvPr/>
          </p:nvSpPr>
          <p:spPr bwMode="auto">
            <a:xfrm>
              <a:off x="5419344" y="1527048"/>
              <a:ext cx="2557268" cy="2752344"/>
            </a:xfrm>
            <a:prstGeom prst="rect">
              <a:avLst/>
            </a:prstGeom>
            <a:noFill/>
            <a:ln w="9525" algn="ctr">
              <a:noFill/>
              <a:miter lim="800000"/>
              <a:headEnd/>
              <a:tailEnd/>
            </a:ln>
          </p:spPr>
          <p:txBody>
            <a:bodyPr/>
            <a:lstStyle>
              <a:defPPr>
                <a:defRPr lang="en-US"/>
              </a:defPPr>
              <a:lvl1pPr marL="114300" indent="-114300" fontAlgn="base">
                <a:spcBef>
                  <a:spcPct val="30000"/>
                </a:spcBef>
                <a:spcAft>
                  <a:spcPct val="0"/>
                </a:spcAft>
                <a:buClr>
                  <a:srgbClr val="1EA3D2"/>
                </a:buClr>
                <a:buFont typeface="Wingdings" pitchFamily="2" charset="2"/>
                <a:buChar char="§"/>
                <a:defRPr sz="1000">
                  <a:solidFill>
                    <a:prstClr val="black"/>
                  </a:solidFill>
                  <a:latin typeface="Candara" panose="020E0502030303020204" pitchFamily="34" charset="0"/>
                  <a:ea typeface="ＭＳ Ｐゴシック" pitchFamily="34" charset="-128"/>
                  <a:cs typeface="Times New Roman" pitchFamily="18" charset="0"/>
                </a:defRPr>
              </a:lvl1pPr>
            </a:lstStyle>
            <a:p>
              <a:pPr marR="0" lvl="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r>
                <a:rPr lang="en-US" sz="1200" kern="0" dirty="0">
                  <a:latin typeface="Ubuntu"/>
                  <a:cs typeface="Arial" panose="020B0604020202020204" pitchFamily="34" charset="0"/>
                </a:rPr>
                <a:t>Kickoff test execution based on project timelines and priorities.</a:t>
              </a:r>
            </a:p>
            <a:p>
              <a:pPr marR="0" lvl="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r>
                <a:rPr lang="en-US" sz="1200" kern="0" dirty="0">
                  <a:latin typeface="Ubuntu"/>
                  <a:cs typeface="Arial" panose="020B0604020202020204" pitchFamily="34" charset="0"/>
                </a:rPr>
                <a:t>Execute automated test suites across  different processes/modules, countries and Integrated applications.</a:t>
              </a:r>
            </a:p>
            <a:p>
              <a:pPr marR="0" lvl="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r>
                <a:rPr lang="en-US" sz="1200" kern="0" dirty="0">
                  <a:latin typeface="Ubuntu"/>
                  <a:cs typeface="Arial" panose="020B0604020202020204" pitchFamily="34" charset="0"/>
                </a:rPr>
                <a:t>Monitor test execution progress, analyze test logs, investigate test failures and raise defects accordingly</a:t>
              </a:r>
            </a:p>
            <a:p>
              <a:pPr marR="0" lvl="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r>
                <a:rPr lang="en-US" sz="1200" kern="0" dirty="0">
                  <a:latin typeface="Ubuntu"/>
                  <a:cs typeface="Arial" panose="020B0604020202020204" pitchFamily="34" charset="0"/>
                </a:rPr>
                <a:t>Collaborate with IT team and Business to investigate and resolve identified defects.</a:t>
              </a:r>
            </a:p>
          </p:txBody>
        </p:sp>
        <p:sp>
          <p:nvSpPr>
            <p:cNvPr id="34" name="Text Box 194">
              <a:extLst>
                <a:ext uri="{FF2B5EF4-FFF2-40B4-BE49-F238E27FC236}">
                  <a16:creationId xmlns:a16="http://schemas.microsoft.com/office/drawing/2014/main" id="{B8CE2681-66F0-2F90-EE00-E84100142762}"/>
                </a:ext>
              </a:extLst>
            </p:cNvPr>
            <p:cNvSpPr txBox="1">
              <a:spLocks noChangeArrowheads="1"/>
            </p:cNvSpPr>
            <p:nvPr/>
          </p:nvSpPr>
          <p:spPr bwMode="auto">
            <a:xfrm>
              <a:off x="8135365" y="1604128"/>
              <a:ext cx="2387247" cy="2752344"/>
            </a:xfrm>
            <a:prstGeom prst="rect">
              <a:avLst/>
            </a:prstGeom>
            <a:noFill/>
            <a:ln w="9525" algn="ctr">
              <a:noFill/>
              <a:miter lim="800000"/>
              <a:headEnd/>
              <a:tailEnd/>
            </a:ln>
          </p:spPr>
          <p:txBody>
            <a:bodyPr/>
            <a:lstStyle>
              <a:defPPr>
                <a:defRPr lang="en-US"/>
              </a:defPPr>
              <a:lvl1pPr marL="114300" indent="-114300" fontAlgn="base">
                <a:spcBef>
                  <a:spcPct val="30000"/>
                </a:spcBef>
                <a:spcAft>
                  <a:spcPct val="0"/>
                </a:spcAft>
                <a:buClr>
                  <a:srgbClr val="1EA3D2"/>
                </a:buClr>
                <a:buFont typeface="Wingdings" pitchFamily="2" charset="2"/>
                <a:buChar char="§"/>
                <a:defRPr sz="1000">
                  <a:solidFill>
                    <a:prstClr val="black"/>
                  </a:solidFill>
                  <a:latin typeface="Candara" panose="020E0502030303020204" pitchFamily="34" charset="0"/>
                  <a:ea typeface="ＭＳ Ｐゴシック" pitchFamily="34" charset="-128"/>
                  <a:cs typeface="Times New Roman" pitchFamily="18" charset="0"/>
                </a:defRPr>
              </a:lvl1pPr>
            </a:lstStyle>
            <a:p>
              <a:pPr marR="0" lvl="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r>
                <a:rPr lang="en-US" sz="1200" kern="0" dirty="0">
                  <a:latin typeface="Ubuntu"/>
                  <a:cs typeface="Arial" panose="020B0604020202020204" pitchFamily="34" charset="0"/>
                </a:rPr>
                <a:t>Provide detailed reports and metrics to stakeholders, including defect trends, test coverage, and automation effectiveness.</a:t>
              </a:r>
            </a:p>
            <a:p>
              <a:pPr marR="0" lvl="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r>
                <a:rPr lang="en-US" sz="1200" kern="0" dirty="0">
                  <a:latin typeface="Ubuntu"/>
                  <a:cs typeface="Arial" panose="020B0604020202020204" pitchFamily="34" charset="0"/>
                </a:rPr>
                <a:t>Identify opportunities for automation for any repetitive tasks.</a:t>
              </a:r>
            </a:p>
            <a:p>
              <a:pPr marR="0" lvl="0" algn="l" defTabSz="914400" rtl="0" eaLnBrk="1" fontAlgn="base" latinLnBrk="0" hangingPunct="1">
                <a:lnSpc>
                  <a:spcPct val="100000"/>
                </a:lnSpc>
                <a:spcBef>
                  <a:spcPts val="200"/>
                </a:spcBef>
                <a:spcAft>
                  <a:spcPts val="0"/>
                </a:spcAft>
                <a:buClr>
                  <a:schemeClr val="tx1"/>
                </a:buClr>
                <a:buSzTx/>
                <a:buFont typeface="Arial" panose="020B0604020202020204" pitchFamily="34" charset="0"/>
                <a:buChar char="•"/>
                <a:tabLst/>
                <a:defRPr/>
              </a:pPr>
              <a:r>
                <a:rPr lang="en-US" sz="1200" kern="0" dirty="0">
                  <a:latin typeface="Ubuntu"/>
                  <a:cs typeface="Arial" panose="020B0604020202020204" pitchFamily="34" charset="0"/>
                </a:rPr>
                <a:t>Regularly review and refactor test code to improve maintainability, scalability, and performance.</a:t>
              </a:r>
            </a:p>
          </p:txBody>
        </p:sp>
      </p:grpSp>
    </p:spTree>
    <p:extLst>
      <p:ext uri="{BB962C8B-B14F-4D97-AF65-F5344CB8AC3E}">
        <p14:creationId xmlns:p14="http://schemas.microsoft.com/office/powerpoint/2010/main" val="26163721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3 Capgemini Template">
  <a:themeElements>
    <a:clrScheme name="2017 New Brand Colors">
      <a:dk1>
        <a:srgbClr val="000000"/>
      </a:dk1>
      <a:lt1>
        <a:sysClr val="window" lastClr="FFFFFF"/>
      </a:lt1>
      <a:dk2>
        <a:srgbClr val="0070AD"/>
      </a:dk2>
      <a:lt2>
        <a:srgbClr val="EDEDED"/>
      </a:lt2>
      <a:accent1>
        <a:srgbClr val="80B8D6"/>
      </a:accent1>
      <a:accent2>
        <a:srgbClr val="12ABDB"/>
      </a:accent2>
      <a:accent3>
        <a:srgbClr val="2B143D"/>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7c5775c-86b2-4a32-a114-1da711d6808d">
      <Terms xmlns="http://schemas.microsoft.com/office/infopath/2007/PartnerControls"/>
    </lcf76f155ced4ddcb4097134ff3c332f>
    <TaxCatchAll xmlns="e7b59b3e-2b3e-49fe-a1f6-889a8ac8cb90"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469F1FB7339604F9F8BB14CC2BEE0A5" ma:contentTypeVersion="18" ma:contentTypeDescription="Create a new document." ma:contentTypeScope="" ma:versionID="29a7adece7e9e65e33c8aa5e7fc9b0e0">
  <xsd:schema xmlns:xsd="http://www.w3.org/2001/XMLSchema" xmlns:xs="http://www.w3.org/2001/XMLSchema" xmlns:p="http://schemas.microsoft.com/office/2006/metadata/properties" xmlns:ns2="f7c5775c-86b2-4a32-a114-1da711d6808d" xmlns:ns3="e7b59b3e-2b3e-49fe-a1f6-889a8ac8cb90" targetNamespace="http://schemas.microsoft.com/office/2006/metadata/properties" ma:root="true" ma:fieldsID="017b74d7393745d54cce615c7cc794bb" ns2:_="" ns3:_="">
    <xsd:import namespace="f7c5775c-86b2-4a32-a114-1da711d6808d"/>
    <xsd:import namespace="e7b59b3e-2b3e-49fe-a1f6-889a8ac8cb9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OCR"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c5775c-86b2-4a32-a114-1da711d6808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7b59b3e-2b3e-49fe-a1f6-889a8ac8cb90"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52519011-2a29-47cf-b991-61cb293b5542}" ma:internalName="TaxCatchAll" ma:showField="CatchAllData" ma:web="e7b59b3e-2b3e-49fe-a1f6-889a8ac8cb9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A267F69-6DC1-4BE1-AFEB-E0C714AFE263}">
  <ds:schemaRefs>
    <ds:schemaRef ds:uri="e7b59b3e-2b3e-49fe-a1f6-889a8ac8cb90"/>
    <ds:schemaRef ds:uri="f7c5775c-86b2-4a32-a114-1da711d6808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0536090-BEFE-4F18-84E4-5C2C88D12927}">
  <ds:schemaRefs>
    <ds:schemaRef ds:uri="http://schemas.microsoft.com/sharepoint/v3/contenttype/forms"/>
  </ds:schemaRefs>
</ds:datastoreItem>
</file>

<file path=customXml/itemProps3.xml><?xml version="1.0" encoding="utf-8"?>
<ds:datastoreItem xmlns:ds="http://schemas.openxmlformats.org/officeDocument/2006/customXml" ds:itemID="{CB2D24A1-89F4-4207-8427-D9DD778CE8F7}">
  <ds:schemaRefs>
    <ds:schemaRef ds:uri="e7b59b3e-2b3e-49fe-a1f6-889a8ac8cb90"/>
    <ds:schemaRef ds:uri="f7c5775c-86b2-4a32-a114-1da711d6808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30_Years_GE_Template_v2.0</Template>
  <TotalTime>689</TotalTime>
  <Words>2912</Words>
  <Application>Microsoft Office PowerPoint</Application>
  <PresentationFormat>Widescreen</PresentationFormat>
  <Paragraphs>521</Paragraphs>
  <Slides>17</Slides>
  <Notes>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8" baseType="lpstr">
      <vt:lpstr>Arial</vt:lpstr>
      <vt:lpstr>Calibri</vt:lpstr>
      <vt:lpstr>Courier New</vt:lpstr>
      <vt:lpstr>Segoe UI</vt:lpstr>
      <vt:lpstr>Ubuntu</vt:lpstr>
      <vt:lpstr>Ubuntu Medium</vt:lpstr>
      <vt:lpstr>Ubuntu Medium</vt:lpstr>
      <vt:lpstr>Verdana</vt:lpstr>
      <vt:lpstr>Wingdings</vt:lpstr>
      <vt:lpstr>2013 Capgemini Template</vt:lpstr>
      <vt:lpstr>think-cell Slide</vt:lpstr>
      <vt:lpstr>Gas Power TCoE landscape – Capgemini presence</vt:lpstr>
      <vt:lpstr>Proposed Operating Model</vt:lpstr>
      <vt:lpstr>Execution Approach</vt:lpstr>
      <vt:lpstr>Our Solution approach</vt:lpstr>
      <vt:lpstr>PowerPoint Presentation</vt:lpstr>
      <vt:lpstr>PowerPoint Presentation</vt:lpstr>
      <vt:lpstr>PowerPoint Presentation</vt:lpstr>
      <vt:lpstr> ASSUMPTIONS – ECHO &amp; NEW UNITS</vt:lpstr>
      <vt:lpstr>Execution Approach</vt:lpstr>
      <vt:lpstr>PowerPoint Presentation</vt:lpstr>
      <vt:lpstr>PowerPoint Presentation</vt:lpstr>
      <vt:lpstr>PowerPoint Presentation</vt:lpstr>
      <vt:lpstr>PowerPoint Presentation</vt:lpstr>
      <vt:lpstr>PowerPoint Presentation</vt:lpstr>
      <vt:lpstr>Delivery Approach</vt:lpstr>
      <vt:lpstr>PowerPoint Presentation</vt:lpstr>
      <vt:lpstr>Generative AI by Capgemini Capgemini’s Broad Excellence in Generative A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ceholder for title</dc:title>
  <dc:creator>Dasari, Suresh</dc:creator>
  <cp:lastModifiedBy>Peruka, Sridhar</cp:lastModifiedBy>
  <cp:revision>18</cp:revision>
  <cp:lastPrinted>2020-09-04T23:03:26Z</cp:lastPrinted>
  <dcterms:created xsi:type="dcterms:W3CDTF">2020-04-20T08:45:36Z</dcterms:created>
  <dcterms:modified xsi:type="dcterms:W3CDTF">2024-05-07T09:5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69F1FB7339604F9F8BB14CC2BEE0A5</vt:lpwstr>
  </property>
  <property fmtid="{D5CDD505-2E9C-101B-9397-08002B2CF9AE}" pid="3" name="MediaServiceImageTags">
    <vt:lpwstr/>
  </property>
</Properties>
</file>